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706" r:id="rId2"/>
  </p:sldMasterIdLst>
  <p:notesMasterIdLst>
    <p:notesMasterId r:id="rId22"/>
  </p:notesMasterIdLst>
  <p:handoutMasterIdLst>
    <p:handoutMasterId r:id="rId23"/>
  </p:handoutMasterIdLst>
  <p:sldIdLst>
    <p:sldId id="358" r:id="rId3"/>
    <p:sldId id="384" r:id="rId4"/>
    <p:sldId id="377" r:id="rId5"/>
    <p:sldId id="7323" r:id="rId6"/>
    <p:sldId id="345" r:id="rId7"/>
    <p:sldId id="370" r:id="rId8"/>
    <p:sldId id="378" r:id="rId9"/>
    <p:sldId id="393" r:id="rId10"/>
    <p:sldId id="359" r:id="rId11"/>
    <p:sldId id="360" r:id="rId12"/>
    <p:sldId id="394" r:id="rId13"/>
    <p:sldId id="361" r:id="rId14"/>
    <p:sldId id="395" r:id="rId15"/>
    <p:sldId id="396" r:id="rId16"/>
    <p:sldId id="397" r:id="rId17"/>
    <p:sldId id="7322" r:id="rId18"/>
    <p:sldId id="7320" r:id="rId19"/>
    <p:sldId id="379" r:id="rId20"/>
    <p:sldId id="354" r:id="rId21"/>
  </p:sldIdLst>
  <p:sldSz cx="12192000" cy="6858000"/>
  <p:notesSz cx="6797675" cy="9926638"/>
  <p:embeddedFontLst>
    <p:embeddedFont>
      <p:font typeface="Futura Bold" panose="00000900000000000000" pitchFamily="2" charset="0"/>
      <p:regular r:id="rId24"/>
    </p:embeddedFont>
    <p:embeddedFont>
      <p:font typeface="Futura Light" panose="00000400000000000000" pitchFamily="2" charset="0"/>
      <p:regular r:id="rId25"/>
    </p:embeddedFont>
    <p:embeddedFont>
      <p:font typeface="Futura Medium" panose="00000400000000000000" pitchFamily="2" charset="0"/>
      <p:regular r:id="rId26"/>
      <p:bold r:id="rId27"/>
      <p:italic r:id="rId28"/>
      <p:boldItalic r:id="rId29"/>
    </p:embeddedFont>
    <p:embeddedFont>
      <p:font typeface="ShellHeavy" panose="00000700000000000000" pitchFamily="50" charset="0"/>
      <p:regular r:id="rId30"/>
      <p:bold r:id="rId31"/>
    </p:embeddedFont>
    <p:embeddedFont>
      <p:font typeface="ShellLight" panose="00000400000000000000" pitchFamily="50" charset="0"/>
      <p:regular r:id="rId32"/>
    </p:embeddedFont>
    <p:embeddedFont>
      <p:font typeface="ShellMedium" panose="00000600000000000000" pitchFamily="50" charset="0"/>
      <p:regular r:id="rId33"/>
    </p:embeddedFont>
  </p:embeddedFont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51E6B6-7DB4-4B89-AE32-0BC3149926DB}">
          <p14:sldIdLst>
            <p14:sldId id="358"/>
            <p14:sldId id="384"/>
          </p14:sldIdLst>
        </p14:section>
        <p14:section name="Claims awareness" id="{15D2EF9E-E557-4642-BF01-0622ABBBD676}">
          <p14:sldIdLst>
            <p14:sldId id="377"/>
            <p14:sldId id="7323"/>
            <p14:sldId id="345"/>
            <p14:sldId id="370"/>
            <p14:sldId id="378"/>
            <p14:sldId id="393"/>
            <p14:sldId id="359"/>
            <p14:sldId id="360"/>
            <p14:sldId id="394"/>
            <p14:sldId id="361"/>
            <p14:sldId id="395"/>
            <p14:sldId id="396"/>
            <p14:sldId id="397"/>
          </p14:sldIdLst>
        </p14:section>
        <p14:section name="Performance" id="{2B850F79-6F32-4CA7-A813-5C1AA8C28727}">
          <p14:sldIdLst>
            <p14:sldId id="7322"/>
          </p14:sldIdLst>
        </p14:section>
        <p14:section name="Initiative Charter" id="{FAB2B47E-6CDC-4E7F-9687-2DDC153D946B}">
          <p14:sldIdLst>
            <p14:sldId id="7320"/>
          </p14:sldIdLst>
        </p14:section>
        <p14:section name="How we work" id="{D20262D6-EB1B-4E66-B40A-890865668033}">
          <p14:sldIdLst>
            <p14:sldId id="379"/>
            <p14:sldId id="35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BCE0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99" autoAdjust="0"/>
    <p:restoredTop sz="92442" autoAdjust="0"/>
  </p:normalViewPr>
  <p:slideViewPr>
    <p:cSldViewPr snapToGrid="0" snapToObjects="1" showGuides="1">
      <p:cViewPr>
        <p:scale>
          <a:sx n="75" d="100"/>
          <a:sy n="75" d="100"/>
        </p:scale>
        <p:origin x="452" y="-36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62" d="100"/>
          <a:sy n="62" d="100"/>
        </p:scale>
        <p:origin x="3240" y="67"/>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3.fntdata"/><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2.fntdata"/><Relationship Id="rId33" Type="http://schemas.openxmlformats.org/officeDocument/2006/relationships/font" Target="fonts/font10.fntdata"/><Relationship Id="rId38"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8.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us-Kogi, Oghenedoro F SPDC-IUC/G/T" userId="78f19ff7-fab7-43d5-a554-8985d8c96af4" providerId="ADAL" clId="{6BD4EBF3-B115-4B05-AC06-B8BB1CE01212}"/>
    <pc:docChg chg="undo custSel addSld delSld modSld sldOrd delMainMaster addSection modSection">
      <pc:chgData name="Garus-Kogi, Oghenedoro F SPDC-IUC/G/T" userId="78f19ff7-fab7-43d5-a554-8985d8c96af4" providerId="ADAL" clId="{6BD4EBF3-B115-4B05-AC06-B8BB1CE01212}" dt="2024-02-12T09:09:04.219" v="7672" actId="207"/>
      <pc:docMkLst>
        <pc:docMk/>
      </pc:docMkLst>
      <pc:sldChg chg="del">
        <pc:chgData name="Garus-Kogi, Oghenedoro F SPDC-IUC/G/T" userId="78f19ff7-fab7-43d5-a554-8985d8c96af4" providerId="ADAL" clId="{6BD4EBF3-B115-4B05-AC06-B8BB1CE01212}" dt="2024-01-30T18:10:31.253" v="3" actId="47"/>
        <pc:sldMkLst>
          <pc:docMk/>
          <pc:sldMk cId="0" sldId="256"/>
        </pc:sldMkLst>
      </pc:sldChg>
      <pc:sldChg chg="add del">
        <pc:chgData name="Garus-Kogi, Oghenedoro F SPDC-IUC/G/T" userId="78f19ff7-fab7-43d5-a554-8985d8c96af4" providerId="ADAL" clId="{6BD4EBF3-B115-4B05-AC06-B8BB1CE01212}" dt="2024-01-31T10:31:35.862" v="4321"/>
        <pc:sldMkLst>
          <pc:docMk/>
          <pc:sldMk cId="0" sldId="345"/>
        </pc:sldMkLst>
      </pc:sldChg>
      <pc:sldChg chg="del">
        <pc:chgData name="Garus-Kogi, Oghenedoro F SPDC-IUC/G/T" userId="78f19ff7-fab7-43d5-a554-8985d8c96af4" providerId="ADAL" clId="{6BD4EBF3-B115-4B05-AC06-B8BB1CE01212}" dt="2024-01-30T18:11:08.256" v="15" actId="47"/>
        <pc:sldMkLst>
          <pc:docMk/>
          <pc:sldMk cId="0" sldId="349"/>
        </pc:sldMkLst>
      </pc:sldChg>
      <pc:sldChg chg="del">
        <pc:chgData name="Garus-Kogi, Oghenedoro F SPDC-IUC/G/T" userId="78f19ff7-fab7-43d5-a554-8985d8c96af4" providerId="ADAL" clId="{6BD4EBF3-B115-4B05-AC06-B8BB1CE01212}" dt="2024-01-30T18:11:04.959" v="14" actId="47"/>
        <pc:sldMkLst>
          <pc:docMk/>
          <pc:sldMk cId="0" sldId="351"/>
        </pc:sldMkLst>
      </pc:sldChg>
      <pc:sldChg chg="del">
        <pc:chgData name="Garus-Kogi, Oghenedoro F SPDC-IUC/G/T" userId="78f19ff7-fab7-43d5-a554-8985d8c96af4" providerId="ADAL" clId="{6BD4EBF3-B115-4B05-AC06-B8BB1CE01212}" dt="2024-01-30T18:32:56.887" v="1334" actId="47"/>
        <pc:sldMkLst>
          <pc:docMk/>
          <pc:sldMk cId="0" sldId="355"/>
        </pc:sldMkLst>
      </pc:sldChg>
      <pc:sldChg chg="del">
        <pc:chgData name="Garus-Kogi, Oghenedoro F SPDC-IUC/G/T" userId="78f19ff7-fab7-43d5-a554-8985d8c96af4" providerId="ADAL" clId="{6BD4EBF3-B115-4B05-AC06-B8BB1CE01212}" dt="2024-01-30T18:26:27.755" v="624" actId="47"/>
        <pc:sldMkLst>
          <pc:docMk/>
          <pc:sldMk cId="0" sldId="356"/>
        </pc:sldMkLst>
      </pc:sldChg>
      <pc:sldChg chg="addSp delSp modSp mod ord">
        <pc:chgData name="Garus-Kogi, Oghenedoro F SPDC-IUC/G/T" userId="78f19ff7-fab7-43d5-a554-8985d8c96af4" providerId="ADAL" clId="{6BD4EBF3-B115-4B05-AC06-B8BB1CE01212}" dt="2024-01-30T18:38:21.536" v="1512" actId="21"/>
        <pc:sldMkLst>
          <pc:docMk/>
          <pc:sldMk cId="3913706379" sldId="358"/>
        </pc:sldMkLst>
        <pc:spChg chg="add del mod">
          <ac:chgData name="Garus-Kogi, Oghenedoro F SPDC-IUC/G/T" userId="78f19ff7-fab7-43d5-a554-8985d8c96af4" providerId="ADAL" clId="{6BD4EBF3-B115-4B05-AC06-B8BB1CE01212}" dt="2024-01-30T18:37:01.496" v="1499" actId="478"/>
          <ac:spMkLst>
            <pc:docMk/>
            <pc:sldMk cId="3913706379" sldId="358"/>
            <ac:spMk id="6" creationId="{4573FF4A-A094-AA9B-65B7-F803A161082E}"/>
          </ac:spMkLst>
        </pc:spChg>
        <pc:spChg chg="mod">
          <ac:chgData name="Garus-Kogi, Oghenedoro F SPDC-IUC/G/T" userId="78f19ff7-fab7-43d5-a554-8985d8c96af4" providerId="ADAL" clId="{6BD4EBF3-B115-4B05-AC06-B8BB1CE01212}" dt="2024-01-30T18:34:23.569" v="1467" actId="20577"/>
          <ac:spMkLst>
            <pc:docMk/>
            <pc:sldMk cId="3913706379" sldId="358"/>
            <ac:spMk id="7" creationId="{00000000-0000-0000-0000-000000000000}"/>
          </ac:spMkLst>
        </pc:spChg>
        <pc:spChg chg="del">
          <ac:chgData name="Garus-Kogi, Oghenedoro F SPDC-IUC/G/T" userId="78f19ff7-fab7-43d5-a554-8985d8c96af4" providerId="ADAL" clId="{6BD4EBF3-B115-4B05-AC06-B8BB1CE01212}" dt="2024-01-30T18:37:04.705" v="1500" actId="478"/>
          <ac:spMkLst>
            <pc:docMk/>
            <pc:sldMk cId="3913706379" sldId="358"/>
            <ac:spMk id="12" creationId="{00000000-0000-0000-0000-000000000000}"/>
          </ac:spMkLst>
        </pc:spChg>
        <pc:spChg chg="mod">
          <ac:chgData name="Garus-Kogi, Oghenedoro F SPDC-IUC/G/T" userId="78f19ff7-fab7-43d5-a554-8985d8c96af4" providerId="ADAL" clId="{6BD4EBF3-B115-4B05-AC06-B8BB1CE01212}" dt="2024-01-30T18:34:31.799" v="1486" actId="20577"/>
          <ac:spMkLst>
            <pc:docMk/>
            <pc:sldMk cId="3913706379" sldId="358"/>
            <ac:spMk id="17" creationId="{00000000-0000-0000-0000-000000000000}"/>
          </ac:spMkLst>
        </pc:spChg>
        <pc:spChg chg="mod">
          <ac:chgData name="Garus-Kogi, Oghenedoro F SPDC-IUC/G/T" userId="78f19ff7-fab7-43d5-a554-8985d8c96af4" providerId="ADAL" clId="{6BD4EBF3-B115-4B05-AC06-B8BB1CE01212}" dt="2024-01-30T18:33:16.124" v="1358" actId="20577"/>
          <ac:spMkLst>
            <pc:docMk/>
            <pc:sldMk cId="3913706379" sldId="358"/>
            <ac:spMk id="18" creationId="{00000000-0000-0000-0000-000000000000}"/>
          </ac:spMkLst>
        </pc:spChg>
        <pc:spChg chg="mod">
          <ac:chgData name="Garus-Kogi, Oghenedoro F SPDC-IUC/G/T" userId="78f19ff7-fab7-43d5-a554-8985d8c96af4" providerId="ADAL" clId="{6BD4EBF3-B115-4B05-AC06-B8BB1CE01212}" dt="2024-01-30T18:33:52.544" v="1402" actId="20577"/>
          <ac:spMkLst>
            <pc:docMk/>
            <pc:sldMk cId="3913706379" sldId="358"/>
            <ac:spMk id="19" creationId="{00000000-0000-0000-0000-000000000000}"/>
          </ac:spMkLst>
        </pc:spChg>
        <pc:picChg chg="add mod">
          <ac:chgData name="Garus-Kogi, Oghenedoro F SPDC-IUC/G/T" userId="78f19ff7-fab7-43d5-a554-8985d8c96af4" providerId="ADAL" clId="{6BD4EBF3-B115-4B05-AC06-B8BB1CE01212}" dt="2024-01-30T18:38:14.369" v="1510" actId="1076"/>
          <ac:picMkLst>
            <pc:docMk/>
            <pc:sldMk cId="3913706379" sldId="358"/>
            <ac:picMk id="8" creationId="{861E31DB-0C52-2303-6D2A-9ECC0F69FA80}"/>
          </ac:picMkLst>
        </pc:picChg>
        <pc:picChg chg="add del mod">
          <ac:chgData name="Garus-Kogi, Oghenedoro F SPDC-IUC/G/T" userId="78f19ff7-fab7-43d5-a554-8985d8c96af4" providerId="ADAL" clId="{6BD4EBF3-B115-4B05-AC06-B8BB1CE01212}" dt="2024-01-30T18:38:04.286" v="1507" actId="478"/>
          <ac:picMkLst>
            <pc:docMk/>
            <pc:sldMk cId="3913706379" sldId="358"/>
            <ac:picMk id="9" creationId="{96031414-79B2-28F0-4BDC-DB8E6BB3278E}"/>
          </ac:picMkLst>
        </pc:picChg>
        <pc:picChg chg="add del mod">
          <ac:chgData name="Garus-Kogi, Oghenedoro F SPDC-IUC/G/T" userId="78f19ff7-fab7-43d5-a554-8985d8c96af4" providerId="ADAL" clId="{6BD4EBF3-B115-4B05-AC06-B8BB1CE01212}" dt="2024-01-30T18:38:21.536" v="1512" actId="21"/>
          <ac:picMkLst>
            <pc:docMk/>
            <pc:sldMk cId="3913706379" sldId="358"/>
            <ac:picMk id="10" creationId="{4583900E-556E-5321-A9A7-F7D0846C8DB0}"/>
          </ac:picMkLst>
        </pc:picChg>
        <pc:picChg chg="del">
          <ac:chgData name="Garus-Kogi, Oghenedoro F SPDC-IUC/G/T" userId="78f19ff7-fab7-43d5-a554-8985d8c96af4" providerId="ADAL" clId="{6BD4EBF3-B115-4B05-AC06-B8BB1CE01212}" dt="2024-01-30T18:35:52.949" v="1487" actId="478"/>
          <ac:picMkLst>
            <pc:docMk/>
            <pc:sldMk cId="3913706379" sldId="358"/>
            <ac:picMk id="20" creationId="{00000000-0000-0000-0000-000000000000}"/>
          </ac:picMkLst>
        </pc:picChg>
      </pc:sldChg>
      <pc:sldChg chg="add del">
        <pc:chgData name="Garus-Kogi, Oghenedoro F SPDC-IUC/G/T" userId="78f19ff7-fab7-43d5-a554-8985d8c96af4" providerId="ADAL" clId="{6BD4EBF3-B115-4B05-AC06-B8BB1CE01212}" dt="2024-01-31T10:31:35.862" v="4321"/>
        <pc:sldMkLst>
          <pc:docMk/>
          <pc:sldMk cId="3781214173" sldId="359"/>
        </pc:sldMkLst>
      </pc:sldChg>
      <pc:sldChg chg="del">
        <pc:chgData name="Garus-Kogi, Oghenedoro F SPDC-IUC/G/T" userId="78f19ff7-fab7-43d5-a554-8985d8c96af4" providerId="ADAL" clId="{6BD4EBF3-B115-4B05-AC06-B8BB1CE01212}" dt="2024-01-30T18:10:47.388" v="10" actId="47"/>
        <pc:sldMkLst>
          <pc:docMk/>
          <pc:sldMk cId="1957330005" sldId="360"/>
        </pc:sldMkLst>
      </pc:sldChg>
      <pc:sldChg chg="add del">
        <pc:chgData name="Garus-Kogi, Oghenedoro F SPDC-IUC/G/T" userId="78f19ff7-fab7-43d5-a554-8985d8c96af4" providerId="ADAL" clId="{6BD4EBF3-B115-4B05-AC06-B8BB1CE01212}" dt="2024-01-31T10:31:35.862" v="4321"/>
        <pc:sldMkLst>
          <pc:docMk/>
          <pc:sldMk cId="4258444113" sldId="360"/>
        </pc:sldMkLst>
      </pc:sldChg>
      <pc:sldChg chg="addSp modSp add del mod">
        <pc:chgData name="Garus-Kogi, Oghenedoro F SPDC-IUC/G/T" userId="78f19ff7-fab7-43d5-a554-8985d8c96af4" providerId="ADAL" clId="{6BD4EBF3-B115-4B05-AC06-B8BB1CE01212}" dt="2024-02-12T09:09:04.219" v="7672" actId="207"/>
        <pc:sldMkLst>
          <pc:docMk/>
          <pc:sldMk cId="4197604885" sldId="361"/>
        </pc:sldMkLst>
        <pc:spChg chg="add mod">
          <ac:chgData name="Garus-Kogi, Oghenedoro F SPDC-IUC/G/T" userId="78f19ff7-fab7-43d5-a554-8985d8c96af4" providerId="ADAL" clId="{6BD4EBF3-B115-4B05-AC06-B8BB1CE01212}" dt="2024-02-12T09:09:04.219" v="7672" actId="207"/>
          <ac:spMkLst>
            <pc:docMk/>
            <pc:sldMk cId="4197604885" sldId="361"/>
            <ac:spMk id="4" creationId="{B452DB0A-D36F-3EEA-5981-52B5D81E2634}"/>
          </ac:spMkLst>
        </pc:spChg>
        <pc:picChg chg="mod modCrop">
          <ac:chgData name="Garus-Kogi, Oghenedoro F SPDC-IUC/G/T" userId="78f19ff7-fab7-43d5-a554-8985d8c96af4" providerId="ADAL" clId="{6BD4EBF3-B115-4B05-AC06-B8BB1CE01212}" dt="2024-02-12T09:07:54.906" v="7633" actId="732"/>
          <ac:picMkLst>
            <pc:docMk/>
            <pc:sldMk cId="4197604885" sldId="361"/>
            <ac:picMk id="13" creationId="{61A8809B-81DC-045E-C487-B2D2B17B110F}"/>
          </ac:picMkLst>
        </pc:picChg>
      </pc:sldChg>
      <pc:sldChg chg="del">
        <pc:chgData name="Garus-Kogi, Oghenedoro F SPDC-IUC/G/T" userId="78f19ff7-fab7-43d5-a554-8985d8c96af4" providerId="ADAL" clId="{6BD4EBF3-B115-4B05-AC06-B8BB1CE01212}" dt="2024-01-30T18:11:08.256" v="15" actId="47"/>
        <pc:sldMkLst>
          <pc:docMk/>
          <pc:sldMk cId="2492240025" sldId="364"/>
        </pc:sldMkLst>
      </pc:sldChg>
      <pc:sldChg chg="add del">
        <pc:chgData name="Garus-Kogi, Oghenedoro F SPDC-IUC/G/T" userId="78f19ff7-fab7-43d5-a554-8985d8c96af4" providerId="ADAL" clId="{6BD4EBF3-B115-4B05-AC06-B8BB1CE01212}" dt="2024-01-31T10:31:35.862" v="4321"/>
        <pc:sldMkLst>
          <pc:docMk/>
          <pc:sldMk cId="1659142310" sldId="370"/>
        </pc:sldMkLst>
      </pc:sldChg>
      <pc:sldChg chg="del">
        <pc:chgData name="Garus-Kogi, Oghenedoro F SPDC-IUC/G/T" userId="78f19ff7-fab7-43d5-a554-8985d8c96af4" providerId="ADAL" clId="{6BD4EBF3-B115-4B05-AC06-B8BB1CE01212}" dt="2024-01-30T18:11:11.334" v="16" actId="47"/>
        <pc:sldMkLst>
          <pc:docMk/>
          <pc:sldMk cId="4120317095" sldId="372"/>
        </pc:sldMkLst>
      </pc:sldChg>
      <pc:sldChg chg="del">
        <pc:chgData name="Garus-Kogi, Oghenedoro F SPDC-IUC/G/T" userId="78f19ff7-fab7-43d5-a554-8985d8c96af4" providerId="ADAL" clId="{6BD4EBF3-B115-4B05-AC06-B8BB1CE01212}" dt="2024-01-30T18:10:59.339" v="13" actId="47"/>
        <pc:sldMkLst>
          <pc:docMk/>
          <pc:sldMk cId="140802423" sldId="373"/>
        </pc:sldMkLst>
      </pc:sldChg>
      <pc:sldChg chg="del">
        <pc:chgData name="Garus-Kogi, Oghenedoro F SPDC-IUC/G/T" userId="78f19ff7-fab7-43d5-a554-8985d8c96af4" providerId="ADAL" clId="{6BD4EBF3-B115-4B05-AC06-B8BB1CE01212}" dt="2024-01-30T18:10:59.339" v="13" actId="47"/>
        <pc:sldMkLst>
          <pc:docMk/>
          <pc:sldMk cId="379652221" sldId="375"/>
        </pc:sldMkLst>
      </pc:sldChg>
      <pc:sldChg chg="del">
        <pc:chgData name="Garus-Kogi, Oghenedoro F SPDC-IUC/G/T" userId="78f19ff7-fab7-43d5-a554-8985d8c96af4" providerId="ADAL" clId="{6BD4EBF3-B115-4B05-AC06-B8BB1CE01212}" dt="2024-01-30T18:26:16.815" v="623" actId="47"/>
        <pc:sldMkLst>
          <pc:docMk/>
          <pc:sldMk cId="4223202" sldId="376"/>
        </pc:sldMkLst>
      </pc:sldChg>
      <pc:sldChg chg="addSp delSp modSp mod modClrScheme chgLayout">
        <pc:chgData name="Garus-Kogi, Oghenedoro F SPDC-IUC/G/T" userId="78f19ff7-fab7-43d5-a554-8985d8c96af4" providerId="ADAL" clId="{6BD4EBF3-B115-4B05-AC06-B8BB1CE01212}" dt="2024-01-30T19:53:41.752" v="4051" actId="6549"/>
        <pc:sldMkLst>
          <pc:docMk/>
          <pc:sldMk cId="3278643310" sldId="377"/>
        </pc:sldMkLst>
        <pc:spChg chg="mod ord">
          <ac:chgData name="Garus-Kogi, Oghenedoro F SPDC-IUC/G/T" userId="78f19ff7-fab7-43d5-a554-8985d8c96af4" providerId="ADAL" clId="{6BD4EBF3-B115-4B05-AC06-B8BB1CE01212}" dt="2024-01-30T19:52:55.877" v="4030" actId="700"/>
          <ac:spMkLst>
            <pc:docMk/>
            <pc:sldMk cId="3278643310" sldId="377"/>
            <ac:spMk id="2" creationId="{00000000-0000-0000-0000-000000000000}"/>
          </ac:spMkLst>
        </pc:spChg>
        <pc:spChg chg="mod ord">
          <ac:chgData name="Garus-Kogi, Oghenedoro F SPDC-IUC/G/T" userId="78f19ff7-fab7-43d5-a554-8985d8c96af4" providerId="ADAL" clId="{6BD4EBF3-B115-4B05-AC06-B8BB1CE01212}" dt="2024-01-30T19:52:55.877" v="4030" actId="700"/>
          <ac:spMkLst>
            <pc:docMk/>
            <pc:sldMk cId="3278643310" sldId="377"/>
            <ac:spMk id="3" creationId="{00000000-0000-0000-0000-000000000000}"/>
          </ac:spMkLst>
        </pc:spChg>
        <pc:spChg chg="mod ord">
          <ac:chgData name="Garus-Kogi, Oghenedoro F SPDC-IUC/G/T" userId="78f19ff7-fab7-43d5-a554-8985d8c96af4" providerId="ADAL" clId="{6BD4EBF3-B115-4B05-AC06-B8BB1CE01212}" dt="2024-01-30T19:53:41.752" v="4051" actId="6549"/>
          <ac:spMkLst>
            <pc:docMk/>
            <pc:sldMk cId="3278643310" sldId="377"/>
            <ac:spMk id="4" creationId="{00000000-0000-0000-0000-000000000000}"/>
          </ac:spMkLst>
        </pc:spChg>
        <pc:spChg chg="add del mod">
          <ac:chgData name="Garus-Kogi, Oghenedoro F SPDC-IUC/G/T" userId="78f19ff7-fab7-43d5-a554-8985d8c96af4" providerId="ADAL" clId="{6BD4EBF3-B115-4B05-AC06-B8BB1CE01212}" dt="2024-01-30T19:52:41.568" v="4028"/>
          <ac:spMkLst>
            <pc:docMk/>
            <pc:sldMk cId="3278643310" sldId="377"/>
            <ac:spMk id="5" creationId="{A034747E-EC31-FD31-779F-78CB8BE35D64}"/>
          </ac:spMkLst>
        </pc:spChg>
        <pc:spChg chg="mod ord">
          <ac:chgData name="Garus-Kogi, Oghenedoro F SPDC-IUC/G/T" userId="78f19ff7-fab7-43d5-a554-8985d8c96af4" providerId="ADAL" clId="{6BD4EBF3-B115-4B05-AC06-B8BB1CE01212}" dt="2024-01-30T19:52:55.877" v="4030" actId="700"/>
          <ac:spMkLst>
            <pc:docMk/>
            <pc:sldMk cId="3278643310" sldId="377"/>
            <ac:spMk id="6" creationId="{00000000-0000-0000-0000-000000000000}"/>
          </ac:spMkLst>
        </pc:spChg>
        <pc:spChg chg="add del mod">
          <ac:chgData name="Garus-Kogi, Oghenedoro F SPDC-IUC/G/T" userId="78f19ff7-fab7-43d5-a554-8985d8c96af4" providerId="ADAL" clId="{6BD4EBF3-B115-4B05-AC06-B8BB1CE01212}" dt="2024-01-30T19:52:41.568" v="4028"/>
          <ac:spMkLst>
            <pc:docMk/>
            <pc:sldMk cId="3278643310" sldId="377"/>
            <ac:spMk id="7" creationId="{6269347A-A7DE-368C-0CB9-19AD84D58314}"/>
          </ac:spMkLst>
        </pc:spChg>
        <pc:spChg chg="add del mod">
          <ac:chgData name="Garus-Kogi, Oghenedoro F SPDC-IUC/G/T" userId="78f19ff7-fab7-43d5-a554-8985d8c96af4" providerId="ADAL" clId="{6BD4EBF3-B115-4B05-AC06-B8BB1CE01212}" dt="2024-01-30T19:52:41.568" v="4028"/>
          <ac:spMkLst>
            <pc:docMk/>
            <pc:sldMk cId="3278643310" sldId="377"/>
            <ac:spMk id="8" creationId="{C9D1711B-636C-D117-8477-398823B5B7D0}"/>
          </ac:spMkLst>
        </pc:spChg>
        <pc:spChg chg="add del mod">
          <ac:chgData name="Garus-Kogi, Oghenedoro F SPDC-IUC/G/T" userId="78f19ff7-fab7-43d5-a554-8985d8c96af4" providerId="ADAL" clId="{6BD4EBF3-B115-4B05-AC06-B8BB1CE01212}" dt="2024-01-30T19:52:41.568" v="4028"/>
          <ac:spMkLst>
            <pc:docMk/>
            <pc:sldMk cId="3278643310" sldId="377"/>
            <ac:spMk id="9" creationId="{A0C9C67A-8651-AE3B-4193-483C96EF0339}"/>
          </ac:spMkLst>
        </pc:spChg>
        <pc:spChg chg="add del mod">
          <ac:chgData name="Garus-Kogi, Oghenedoro F SPDC-IUC/G/T" userId="78f19ff7-fab7-43d5-a554-8985d8c96af4" providerId="ADAL" clId="{6BD4EBF3-B115-4B05-AC06-B8BB1CE01212}" dt="2024-01-30T19:52:41.568" v="4028"/>
          <ac:spMkLst>
            <pc:docMk/>
            <pc:sldMk cId="3278643310" sldId="377"/>
            <ac:spMk id="10" creationId="{15016F3D-794D-6A45-1840-F55517FD2F8E}"/>
          </ac:spMkLst>
        </pc:spChg>
        <pc:spChg chg="add del mod">
          <ac:chgData name="Garus-Kogi, Oghenedoro F SPDC-IUC/G/T" userId="78f19ff7-fab7-43d5-a554-8985d8c96af4" providerId="ADAL" clId="{6BD4EBF3-B115-4B05-AC06-B8BB1CE01212}" dt="2024-01-30T19:52:41.568" v="4028"/>
          <ac:spMkLst>
            <pc:docMk/>
            <pc:sldMk cId="3278643310" sldId="377"/>
            <ac:spMk id="11" creationId="{7778C466-614E-7997-B511-5E1E6FDDE286}"/>
          </ac:spMkLst>
        </pc:spChg>
        <pc:spChg chg="add del mod">
          <ac:chgData name="Garus-Kogi, Oghenedoro F SPDC-IUC/G/T" userId="78f19ff7-fab7-43d5-a554-8985d8c96af4" providerId="ADAL" clId="{6BD4EBF3-B115-4B05-AC06-B8BB1CE01212}" dt="2024-01-30T19:52:44.709" v="4029"/>
          <ac:spMkLst>
            <pc:docMk/>
            <pc:sldMk cId="3278643310" sldId="377"/>
            <ac:spMk id="12" creationId="{AAF98ED6-C0A7-E0DC-7E85-3C95E9564F02}"/>
          </ac:spMkLst>
        </pc:spChg>
        <pc:spChg chg="add del mod">
          <ac:chgData name="Garus-Kogi, Oghenedoro F SPDC-IUC/G/T" userId="78f19ff7-fab7-43d5-a554-8985d8c96af4" providerId="ADAL" clId="{6BD4EBF3-B115-4B05-AC06-B8BB1CE01212}" dt="2024-01-30T19:52:44.709" v="4029"/>
          <ac:spMkLst>
            <pc:docMk/>
            <pc:sldMk cId="3278643310" sldId="377"/>
            <ac:spMk id="13" creationId="{65E6A516-0270-06A2-7CD8-2D32046F75C1}"/>
          </ac:spMkLst>
        </pc:spChg>
        <pc:spChg chg="add del mod">
          <ac:chgData name="Garus-Kogi, Oghenedoro F SPDC-IUC/G/T" userId="78f19ff7-fab7-43d5-a554-8985d8c96af4" providerId="ADAL" clId="{6BD4EBF3-B115-4B05-AC06-B8BB1CE01212}" dt="2024-01-30T19:52:44.709" v="4029"/>
          <ac:spMkLst>
            <pc:docMk/>
            <pc:sldMk cId="3278643310" sldId="377"/>
            <ac:spMk id="14" creationId="{D3C84A52-63F6-A7AA-5170-070226763002}"/>
          </ac:spMkLst>
        </pc:spChg>
        <pc:spChg chg="add del mod">
          <ac:chgData name="Garus-Kogi, Oghenedoro F SPDC-IUC/G/T" userId="78f19ff7-fab7-43d5-a554-8985d8c96af4" providerId="ADAL" clId="{6BD4EBF3-B115-4B05-AC06-B8BB1CE01212}" dt="2024-01-30T19:52:44.709" v="4029"/>
          <ac:spMkLst>
            <pc:docMk/>
            <pc:sldMk cId="3278643310" sldId="377"/>
            <ac:spMk id="15" creationId="{9FA09024-30BC-7EA4-E5A7-53E3870F1FE1}"/>
          </ac:spMkLst>
        </pc:spChg>
        <pc:spChg chg="add del mod">
          <ac:chgData name="Garus-Kogi, Oghenedoro F SPDC-IUC/G/T" userId="78f19ff7-fab7-43d5-a554-8985d8c96af4" providerId="ADAL" clId="{6BD4EBF3-B115-4B05-AC06-B8BB1CE01212}" dt="2024-01-30T19:52:44.709" v="4029"/>
          <ac:spMkLst>
            <pc:docMk/>
            <pc:sldMk cId="3278643310" sldId="377"/>
            <ac:spMk id="16" creationId="{B806108F-B302-5FC5-DDAB-4AF6585DA619}"/>
          </ac:spMkLst>
        </pc:spChg>
        <pc:spChg chg="add del mod">
          <ac:chgData name="Garus-Kogi, Oghenedoro F SPDC-IUC/G/T" userId="78f19ff7-fab7-43d5-a554-8985d8c96af4" providerId="ADAL" clId="{6BD4EBF3-B115-4B05-AC06-B8BB1CE01212}" dt="2024-01-30T19:52:44.709" v="4029"/>
          <ac:spMkLst>
            <pc:docMk/>
            <pc:sldMk cId="3278643310" sldId="377"/>
            <ac:spMk id="17" creationId="{C716D0D8-6BC2-1DAA-728D-AE7412969721}"/>
          </ac:spMkLst>
        </pc:spChg>
        <pc:spChg chg="add del mod">
          <ac:chgData name="Garus-Kogi, Oghenedoro F SPDC-IUC/G/T" userId="78f19ff7-fab7-43d5-a554-8985d8c96af4" providerId="ADAL" clId="{6BD4EBF3-B115-4B05-AC06-B8BB1CE01212}" dt="2024-01-30T19:53:27.650" v="4034" actId="478"/>
          <ac:spMkLst>
            <pc:docMk/>
            <pc:sldMk cId="3278643310" sldId="377"/>
            <ac:spMk id="19" creationId="{8121D313-D22B-4AFC-2B96-3A866918DE5E}"/>
          </ac:spMkLst>
        </pc:spChg>
        <pc:spChg chg="add del mod">
          <ac:chgData name="Garus-Kogi, Oghenedoro F SPDC-IUC/G/T" userId="78f19ff7-fab7-43d5-a554-8985d8c96af4" providerId="ADAL" clId="{6BD4EBF3-B115-4B05-AC06-B8BB1CE01212}" dt="2024-01-30T19:53:27.650" v="4034" actId="478"/>
          <ac:spMkLst>
            <pc:docMk/>
            <pc:sldMk cId="3278643310" sldId="377"/>
            <ac:spMk id="21" creationId="{13332A99-3488-6981-093F-AF325BE7744E}"/>
          </ac:spMkLst>
        </pc:spChg>
        <pc:spChg chg="add del mod">
          <ac:chgData name="Garus-Kogi, Oghenedoro F SPDC-IUC/G/T" userId="78f19ff7-fab7-43d5-a554-8985d8c96af4" providerId="ADAL" clId="{6BD4EBF3-B115-4B05-AC06-B8BB1CE01212}" dt="2024-01-30T19:53:27.650" v="4034" actId="478"/>
          <ac:spMkLst>
            <pc:docMk/>
            <pc:sldMk cId="3278643310" sldId="377"/>
            <ac:spMk id="23" creationId="{2E4A1EF0-EEA8-9BCC-F388-0ABD4514C725}"/>
          </ac:spMkLst>
        </pc:spChg>
        <pc:spChg chg="add del mod">
          <ac:chgData name="Garus-Kogi, Oghenedoro F SPDC-IUC/G/T" userId="78f19ff7-fab7-43d5-a554-8985d8c96af4" providerId="ADAL" clId="{6BD4EBF3-B115-4B05-AC06-B8BB1CE01212}" dt="2024-01-30T19:53:27.650" v="4034" actId="478"/>
          <ac:spMkLst>
            <pc:docMk/>
            <pc:sldMk cId="3278643310" sldId="377"/>
            <ac:spMk id="25" creationId="{EC4303DF-1B31-CC2E-F755-3675FD039BCA}"/>
          </ac:spMkLst>
        </pc:spChg>
        <pc:spChg chg="add del mod">
          <ac:chgData name="Garus-Kogi, Oghenedoro F SPDC-IUC/G/T" userId="78f19ff7-fab7-43d5-a554-8985d8c96af4" providerId="ADAL" clId="{6BD4EBF3-B115-4B05-AC06-B8BB1CE01212}" dt="2024-01-30T19:53:31.647" v="4035" actId="478"/>
          <ac:spMkLst>
            <pc:docMk/>
            <pc:sldMk cId="3278643310" sldId="377"/>
            <ac:spMk id="27" creationId="{04620CAE-E6AF-4BA4-153D-0FB6B8E3684A}"/>
          </ac:spMkLst>
        </pc:spChg>
        <pc:spChg chg="add del mod">
          <ac:chgData name="Garus-Kogi, Oghenedoro F SPDC-IUC/G/T" userId="78f19ff7-fab7-43d5-a554-8985d8c96af4" providerId="ADAL" clId="{6BD4EBF3-B115-4B05-AC06-B8BB1CE01212}" dt="2024-01-30T19:53:31.647" v="4035" actId="478"/>
          <ac:spMkLst>
            <pc:docMk/>
            <pc:sldMk cId="3278643310" sldId="377"/>
            <ac:spMk id="29" creationId="{0B5364CD-7E47-49B3-6CEF-1587DAC2756C}"/>
          </ac:spMkLst>
        </pc:spChg>
        <pc:spChg chg="add del mod">
          <ac:chgData name="Garus-Kogi, Oghenedoro F SPDC-IUC/G/T" userId="78f19ff7-fab7-43d5-a554-8985d8c96af4" providerId="ADAL" clId="{6BD4EBF3-B115-4B05-AC06-B8BB1CE01212}" dt="2024-01-30T19:53:31.647" v="4035" actId="478"/>
          <ac:spMkLst>
            <pc:docMk/>
            <pc:sldMk cId="3278643310" sldId="377"/>
            <ac:spMk id="32" creationId="{751233EC-6237-4BFA-B151-07DC28620A14}"/>
          </ac:spMkLst>
        </pc:spChg>
        <pc:spChg chg="add del mod">
          <ac:chgData name="Garus-Kogi, Oghenedoro F SPDC-IUC/G/T" userId="78f19ff7-fab7-43d5-a554-8985d8c96af4" providerId="ADAL" clId="{6BD4EBF3-B115-4B05-AC06-B8BB1CE01212}" dt="2024-01-30T19:53:31.647" v="4035" actId="478"/>
          <ac:spMkLst>
            <pc:docMk/>
            <pc:sldMk cId="3278643310" sldId="377"/>
            <ac:spMk id="35" creationId="{AF1EA11B-5B6E-F236-39ED-055D9A42302A}"/>
          </ac:spMkLst>
        </pc:spChg>
        <pc:spChg chg="add del mod">
          <ac:chgData name="Garus-Kogi, Oghenedoro F SPDC-IUC/G/T" userId="78f19ff7-fab7-43d5-a554-8985d8c96af4" providerId="ADAL" clId="{6BD4EBF3-B115-4B05-AC06-B8BB1CE01212}" dt="2024-01-30T19:53:31.647" v="4035" actId="478"/>
          <ac:spMkLst>
            <pc:docMk/>
            <pc:sldMk cId="3278643310" sldId="377"/>
            <ac:spMk id="37" creationId="{E9039050-3ED8-D7D0-531C-C7FB97C75708}"/>
          </ac:spMkLst>
        </pc:spChg>
        <pc:spChg chg="del mod ord">
          <ac:chgData name="Garus-Kogi, Oghenedoro F SPDC-IUC/G/T" userId="78f19ff7-fab7-43d5-a554-8985d8c96af4" providerId="ADAL" clId="{6BD4EBF3-B115-4B05-AC06-B8BB1CE01212}" dt="2024-01-30T19:53:10.486" v="4031" actId="478"/>
          <ac:spMkLst>
            <pc:docMk/>
            <pc:sldMk cId="3278643310" sldId="377"/>
            <ac:spMk id="62" creationId="{00000000-0000-0000-0000-000000000000}"/>
          </ac:spMkLst>
        </pc:spChg>
        <pc:spChg chg="del mod ord">
          <ac:chgData name="Garus-Kogi, Oghenedoro F SPDC-IUC/G/T" userId="78f19ff7-fab7-43d5-a554-8985d8c96af4" providerId="ADAL" clId="{6BD4EBF3-B115-4B05-AC06-B8BB1CE01212}" dt="2024-01-30T19:53:27.650" v="4034" actId="478"/>
          <ac:spMkLst>
            <pc:docMk/>
            <pc:sldMk cId="3278643310" sldId="377"/>
            <ac:spMk id="63" creationId="{00000000-0000-0000-0000-000000000000}"/>
          </ac:spMkLst>
        </pc:spChg>
        <pc:spChg chg="del mod ord">
          <ac:chgData name="Garus-Kogi, Oghenedoro F SPDC-IUC/G/T" userId="78f19ff7-fab7-43d5-a554-8985d8c96af4" providerId="ADAL" clId="{6BD4EBF3-B115-4B05-AC06-B8BB1CE01212}" dt="2024-01-30T19:53:27.650" v="4034" actId="478"/>
          <ac:spMkLst>
            <pc:docMk/>
            <pc:sldMk cId="3278643310" sldId="377"/>
            <ac:spMk id="64" creationId="{00000000-0000-0000-0000-000000000000}"/>
          </ac:spMkLst>
        </pc:spChg>
        <pc:spChg chg="del mod ord">
          <ac:chgData name="Garus-Kogi, Oghenedoro F SPDC-IUC/G/T" userId="78f19ff7-fab7-43d5-a554-8985d8c96af4" providerId="ADAL" clId="{6BD4EBF3-B115-4B05-AC06-B8BB1CE01212}" dt="2024-01-30T19:53:27.650" v="4034" actId="478"/>
          <ac:spMkLst>
            <pc:docMk/>
            <pc:sldMk cId="3278643310" sldId="377"/>
            <ac:spMk id="65" creationId="{00000000-0000-0000-0000-000000000000}"/>
          </ac:spMkLst>
        </pc:spChg>
        <pc:spChg chg="del mod ord">
          <ac:chgData name="Garus-Kogi, Oghenedoro F SPDC-IUC/G/T" userId="78f19ff7-fab7-43d5-a554-8985d8c96af4" providerId="ADAL" clId="{6BD4EBF3-B115-4B05-AC06-B8BB1CE01212}" dt="2024-01-30T19:53:10.486" v="4031" actId="478"/>
          <ac:spMkLst>
            <pc:docMk/>
            <pc:sldMk cId="3278643310" sldId="377"/>
            <ac:spMk id="66" creationId="{00000000-0000-0000-0000-000000000000}"/>
          </ac:spMkLst>
        </pc:spChg>
        <pc:spChg chg="del mod ord">
          <ac:chgData name="Garus-Kogi, Oghenedoro F SPDC-IUC/G/T" userId="78f19ff7-fab7-43d5-a554-8985d8c96af4" providerId="ADAL" clId="{6BD4EBF3-B115-4B05-AC06-B8BB1CE01212}" dt="2024-01-30T19:53:10.486" v="4031" actId="478"/>
          <ac:spMkLst>
            <pc:docMk/>
            <pc:sldMk cId="3278643310" sldId="377"/>
            <ac:spMk id="67" creationId="{00000000-0000-0000-0000-000000000000}"/>
          </ac:spMkLst>
        </pc:spChg>
        <pc:spChg chg="del mod ord">
          <ac:chgData name="Garus-Kogi, Oghenedoro F SPDC-IUC/G/T" userId="78f19ff7-fab7-43d5-a554-8985d8c96af4" providerId="ADAL" clId="{6BD4EBF3-B115-4B05-AC06-B8BB1CE01212}" dt="2024-01-30T19:53:27.650" v="4034" actId="478"/>
          <ac:spMkLst>
            <pc:docMk/>
            <pc:sldMk cId="3278643310" sldId="377"/>
            <ac:spMk id="68" creationId="{00000000-0000-0000-0000-000000000000}"/>
          </ac:spMkLst>
        </pc:spChg>
        <pc:graphicFrameChg chg="del mod ord">
          <ac:chgData name="Garus-Kogi, Oghenedoro F SPDC-IUC/G/T" userId="78f19ff7-fab7-43d5-a554-8985d8c96af4" providerId="ADAL" clId="{6BD4EBF3-B115-4B05-AC06-B8BB1CE01212}" dt="2024-01-30T19:53:27.650" v="4034" actId="478"/>
          <ac:graphicFrameMkLst>
            <pc:docMk/>
            <pc:sldMk cId="3278643310" sldId="377"/>
            <ac:graphicFrameMk id="31" creationId="{00000000-0000-0000-0000-000000000000}"/>
          </ac:graphicFrameMkLst>
        </pc:graphicFrameChg>
        <pc:graphicFrameChg chg="del mod ord">
          <ac:chgData name="Garus-Kogi, Oghenedoro F SPDC-IUC/G/T" userId="78f19ff7-fab7-43d5-a554-8985d8c96af4" providerId="ADAL" clId="{6BD4EBF3-B115-4B05-AC06-B8BB1CE01212}" dt="2024-01-30T19:53:10.486" v="4031" actId="478"/>
          <ac:graphicFrameMkLst>
            <pc:docMk/>
            <pc:sldMk cId="3278643310" sldId="377"/>
            <ac:graphicFrameMk id="34" creationId="{00000000-0000-0000-0000-000000000000}"/>
          </ac:graphicFrameMkLst>
        </pc:graphicFrameChg>
      </pc:sldChg>
      <pc:sldChg chg="add del">
        <pc:chgData name="Garus-Kogi, Oghenedoro F SPDC-IUC/G/T" userId="78f19ff7-fab7-43d5-a554-8985d8c96af4" providerId="ADAL" clId="{6BD4EBF3-B115-4B05-AC06-B8BB1CE01212}" dt="2024-01-31T10:31:35.862" v="4321"/>
        <pc:sldMkLst>
          <pc:docMk/>
          <pc:sldMk cId="2058995214" sldId="378"/>
        </pc:sldMkLst>
      </pc:sldChg>
      <pc:sldChg chg="addSp delSp modSp mod modClrScheme chgLayout">
        <pc:chgData name="Garus-Kogi, Oghenedoro F SPDC-IUC/G/T" userId="78f19ff7-fab7-43d5-a554-8985d8c96af4" providerId="ADAL" clId="{6BD4EBF3-B115-4B05-AC06-B8BB1CE01212}" dt="2024-01-31T15:28:22.259" v="7319" actId="20577"/>
        <pc:sldMkLst>
          <pc:docMk/>
          <pc:sldMk cId="2989127202" sldId="379"/>
        </pc:sldMkLst>
        <pc:spChg chg="mod ord">
          <ac:chgData name="Garus-Kogi, Oghenedoro F SPDC-IUC/G/T" userId="78f19ff7-fab7-43d5-a554-8985d8c96af4" providerId="ADAL" clId="{6BD4EBF3-B115-4B05-AC06-B8BB1CE01212}" dt="2024-01-31T10:57:47.471" v="4598" actId="700"/>
          <ac:spMkLst>
            <pc:docMk/>
            <pc:sldMk cId="2989127202" sldId="379"/>
            <ac:spMk id="2" creationId="{00000000-0000-0000-0000-000000000000}"/>
          </ac:spMkLst>
        </pc:spChg>
        <pc:spChg chg="mod ord">
          <ac:chgData name="Garus-Kogi, Oghenedoro F SPDC-IUC/G/T" userId="78f19ff7-fab7-43d5-a554-8985d8c96af4" providerId="ADAL" clId="{6BD4EBF3-B115-4B05-AC06-B8BB1CE01212}" dt="2024-01-31T10:57:47.471" v="4598" actId="700"/>
          <ac:spMkLst>
            <pc:docMk/>
            <pc:sldMk cId="2989127202" sldId="379"/>
            <ac:spMk id="3" creationId="{00000000-0000-0000-0000-000000000000}"/>
          </ac:spMkLst>
        </pc:spChg>
        <pc:spChg chg="mod ord">
          <ac:chgData name="Garus-Kogi, Oghenedoro F SPDC-IUC/G/T" userId="78f19ff7-fab7-43d5-a554-8985d8c96af4" providerId="ADAL" clId="{6BD4EBF3-B115-4B05-AC06-B8BB1CE01212}" dt="2024-01-31T10:57:47.471" v="4598" actId="700"/>
          <ac:spMkLst>
            <pc:docMk/>
            <pc:sldMk cId="2989127202" sldId="379"/>
            <ac:spMk id="4" creationId="{00000000-0000-0000-0000-000000000000}"/>
          </ac:spMkLst>
        </pc:spChg>
        <pc:spChg chg="add mod ord">
          <ac:chgData name="Garus-Kogi, Oghenedoro F SPDC-IUC/G/T" userId="78f19ff7-fab7-43d5-a554-8985d8c96af4" providerId="ADAL" clId="{6BD4EBF3-B115-4B05-AC06-B8BB1CE01212}" dt="2024-01-31T11:49:37.398" v="5111" actId="552"/>
          <ac:spMkLst>
            <pc:docMk/>
            <pc:sldMk cId="2989127202" sldId="379"/>
            <ac:spMk id="7" creationId="{23CC1851-B24B-4FB1-3A6B-229CEF3DA0F5}"/>
          </ac:spMkLst>
        </pc:spChg>
        <pc:spChg chg="add del mod ord">
          <ac:chgData name="Garus-Kogi, Oghenedoro F SPDC-IUC/G/T" userId="78f19ff7-fab7-43d5-a554-8985d8c96af4" providerId="ADAL" clId="{6BD4EBF3-B115-4B05-AC06-B8BB1CE01212}" dt="2024-01-31T10:58:08.237" v="4601" actId="3680"/>
          <ac:spMkLst>
            <pc:docMk/>
            <pc:sldMk cId="2989127202" sldId="379"/>
            <ac:spMk id="8" creationId="{4ECE1F6C-E923-433E-184B-2CBEAD4E6D6F}"/>
          </ac:spMkLst>
        </pc:spChg>
        <pc:graphicFrameChg chg="add del mod modGraphic">
          <ac:chgData name="Garus-Kogi, Oghenedoro F SPDC-IUC/G/T" userId="78f19ff7-fab7-43d5-a554-8985d8c96af4" providerId="ADAL" clId="{6BD4EBF3-B115-4B05-AC06-B8BB1CE01212}" dt="2024-01-31T10:58:00.476" v="4600" actId="478"/>
          <ac:graphicFrameMkLst>
            <pc:docMk/>
            <pc:sldMk cId="2989127202" sldId="379"/>
            <ac:graphicFrameMk id="5" creationId="{28938888-0625-366E-0624-B5AE090147DB}"/>
          </ac:graphicFrameMkLst>
        </pc:graphicFrameChg>
        <pc:graphicFrameChg chg="add del modGraphic">
          <ac:chgData name="Garus-Kogi, Oghenedoro F SPDC-IUC/G/T" userId="78f19ff7-fab7-43d5-a554-8985d8c96af4" providerId="ADAL" clId="{6BD4EBF3-B115-4B05-AC06-B8BB1CE01212}" dt="2024-01-31T10:47:32.400" v="4335" actId="478"/>
          <ac:graphicFrameMkLst>
            <pc:docMk/>
            <pc:sldMk cId="2989127202" sldId="379"/>
            <ac:graphicFrameMk id="6" creationId="{43711407-9B7D-4DAF-6950-665001321BC4}"/>
          </ac:graphicFrameMkLst>
        </pc:graphicFrameChg>
        <pc:graphicFrameChg chg="add mod ord modGraphic">
          <ac:chgData name="Garus-Kogi, Oghenedoro F SPDC-IUC/G/T" userId="78f19ff7-fab7-43d5-a554-8985d8c96af4" providerId="ADAL" clId="{6BD4EBF3-B115-4B05-AC06-B8BB1CE01212}" dt="2024-01-31T15:26:22.010" v="7097" actId="404"/>
          <ac:graphicFrameMkLst>
            <pc:docMk/>
            <pc:sldMk cId="2989127202" sldId="379"/>
            <ac:graphicFrameMk id="9" creationId="{B5C96A51-6257-32FD-B86B-6F11E497B4AD}"/>
          </ac:graphicFrameMkLst>
        </pc:graphicFrameChg>
        <pc:graphicFrameChg chg="add mod modGraphic">
          <ac:chgData name="Garus-Kogi, Oghenedoro F SPDC-IUC/G/T" userId="78f19ff7-fab7-43d5-a554-8985d8c96af4" providerId="ADAL" clId="{6BD4EBF3-B115-4B05-AC06-B8BB1CE01212}" dt="2024-01-31T15:28:22.259" v="7319" actId="20577"/>
          <ac:graphicFrameMkLst>
            <pc:docMk/>
            <pc:sldMk cId="2989127202" sldId="379"/>
            <ac:graphicFrameMk id="10" creationId="{6AA6A920-7425-74E6-069F-3003AAA152BA}"/>
          </ac:graphicFrameMkLst>
        </pc:graphicFrameChg>
      </pc:sldChg>
      <pc:sldChg chg="del">
        <pc:chgData name="Garus-Kogi, Oghenedoro F SPDC-IUC/G/T" userId="78f19ff7-fab7-43d5-a554-8985d8c96af4" providerId="ADAL" clId="{6BD4EBF3-B115-4B05-AC06-B8BB1CE01212}" dt="2024-01-30T18:10:38.744" v="7" actId="47"/>
        <pc:sldMkLst>
          <pc:docMk/>
          <pc:sldMk cId="157366685" sldId="380"/>
        </pc:sldMkLst>
      </pc:sldChg>
      <pc:sldChg chg="del">
        <pc:chgData name="Garus-Kogi, Oghenedoro F SPDC-IUC/G/T" userId="78f19ff7-fab7-43d5-a554-8985d8c96af4" providerId="ADAL" clId="{6BD4EBF3-B115-4B05-AC06-B8BB1CE01212}" dt="2024-01-30T18:11:22.998" v="20" actId="47"/>
        <pc:sldMkLst>
          <pc:docMk/>
          <pc:sldMk cId="3241994429" sldId="381"/>
        </pc:sldMkLst>
      </pc:sldChg>
      <pc:sldChg chg="del">
        <pc:chgData name="Garus-Kogi, Oghenedoro F SPDC-IUC/G/T" userId="78f19ff7-fab7-43d5-a554-8985d8c96af4" providerId="ADAL" clId="{6BD4EBF3-B115-4B05-AC06-B8BB1CE01212}" dt="2024-01-30T18:10:35.587" v="5" actId="47"/>
        <pc:sldMkLst>
          <pc:docMk/>
          <pc:sldMk cId="3178339876" sldId="382"/>
        </pc:sldMkLst>
      </pc:sldChg>
      <pc:sldChg chg="del">
        <pc:chgData name="Garus-Kogi, Oghenedoro F SPDC-IUC/G/T" userId="78f19ff7-fab7-43d5-a554-8985d8c96af4" providerId="ADAL" clId="{6BD4EBF3-B115-4B05-AC06-B8BB1CE01212}" dt="2024-01-30T18:10:49.062" v="11" actId="47"/>
        <pc:sldMkLst>
          <pc:docMk/>
          <pc:sldMk cId="1605193847" sldId="383"/>
        </pc:sldMkLst>
      </pc:sldChg>
      <pc:sldChg chg="addSp delSp modSp mod ord">
        <pc:chgData name="Garus-Kogi, Oghenedoro F SPDC-IUC/G/T" userId="78f19ff7-fab7-43d5-a554-8985d8c96af4" providerId="ADAL" clId="{6BD4EBF3-B115-4B05-AC06-B8BB1CE01212}" dt="2024-01-31T13:59:09.696" v="6168" actId="6549"/>
        <pc:sldMkLst>
          <pc:docMk/>
          <pc:sldMk cId="2212985029" sldId="384"/>
        </pc:sldMkLst>
        <pc:spChg chg="mod">
          <ac:chgData name="Garus-Kogi, Oghenedoro F SPDC-IUC/G/T" userId="78f19ff7-fab7-43d5-a554-8985d8c96af4" providerId="ADAL" clId="{6BD4EBF3-B115-4B05-AC06-B8BB1CE01212}" dt="2024-01-30T18:17:24.641" v="74" actId="108"/>
          <ac:spMkLst>
            <pc:docMk/>
            <pc:sldMk cId="2212985029" sldId="384"/>
            <ac:spMk id="9" creationId="{8AD1E9EF-CEAC-15F3-9E5D-7DEB35DC483A}"/>
          </ac:spMkLst>
        </pc:spChg>
        <pc:spChg chg="mod">
          <ac:chgData name="Garus-Kogi, Oghenedoro F SPDC-IUC/G/T" userId="78f19ff7-fab7-43d5-a554-8985d8c96af4" providerId="ADAL" clId="{6BD4EBF3-B115-4B05-AC06-B8BB1CE01212}" dt="2024-01-30T19:41:04.193" v="3832" actId="20577"/>
          <ac:spMkLst>
            <pc:docMk/>
            <pc:sldMk cId="2212985029" sldId="384"/>
            <ac:spMk id="10" creationId="{5BA798AD-E6D5-DEAB-664C-A57E75835E5E}"/>
          </ac:spMkLst>
        </pc:spChg>
        <pc:spChg chg="mod">
          <ac:chgData name="Garus-Kogi, Oghenedoro F SPDC-IUC/G/T" userId="78f19ff7-fab7-43d5-a554-8985d8c96af4" providerId="ADAL" clId="{6BD4EBF3-B115-4B05-AC06-B8BB1CE01212}" dt="2024-01-30T18:41:26.909" v="1550" actId="552"/>
          <ac:spMkLst>
            <pc:docMk/>
            <pc:sldMk cId="2212985029" sldId="384"/>
            <ac:spMk id="12" creationId="{EB2ADB51-BEB4-022F-1F87-16E4CE50176B}"/>
          </ac:spMkLst>
        </pc:spChg>
        <pc:spChg chg="mod">
          <ac:chgData name="Garus-Kogi, Oghenedoro F SPDC-IUC/G/T" userId="78f19ff7-fab7-43d5-a554-8985d8c96af4" providerId="ADAL" clId="{6BD4EBF3-B115-4B05-AC06-B8BB1CE01212}" dt="2024-01-30T19:57:12.610" v="4164" actId="6549"/>
          <ac:spMkLst>
            <pc:docMk/>
            <pc:sldMk cId="2212985029" sldId="384"/>
            <ac:spMk id="13" creationId="{45795AEC-7246-99E1-3CAD-1A9BD5CF0175}"/>
          </ac:spMkLst>
        </pc:spChg>
        <pc:spChg chg="mod">
          <ac:chgData name="Garus-Kogi, Oghenedoro F SPDC-IUC/G/T" userId="78f19ff7-fab7-43d5-a554-8985d8c96af4" providerId="ADAL" clId="{6BD4EBF3-B115-4B05-AC06-B8BB1CE01212}" dt="2024-01-30T18:41:37.242" v="1551" actId="552"/>
          <ac:spMkLst>
            <pc:docMk/>
            <pc:sldMk cId="2212985029" sldId="384"/>
            <ac:spMk id="15" creationId="{DABB1C29-0B01-60B6-4BAB-4EA0D1A98D62}"/>
          </ac:spMkLst>
        </pc:spChg>
        <pc:spChg chg="mod">
          <ac:chgData name="Garus-Kogi, Oghenedoro F SPDC-IUC/G/T" userId="78f19ff7-fab7-43d5-a554-8985d8c96af4" providerId="ADAL" clId="{6BD4EBF3-B115-4B05-AC06-B8BB1CE01212}" dt="2024-01-30T19:58:27.813" v="4171" actId="20577"/>
          <ac:spMkLst>
            <pc:docMk/>
            <pc:sldMk cId="2212985029" sldId="384"/>
            <ac:spMk id="16" creationId="{A5F9400A-9D6F-FF71-314B-02B420749469}"/>
          </ac:spMkLst>
        </pc:spChg>
        <pc:spChg chg="mod">
          <ac:chgData name="Garus-Kogi, Oghenedoro F SPDC-IUC/G/T" userId="78f19ff7-fab7-43d5-a554-8985d8c96af4" providerId="ADAL" clId="{6BD4EBF3-B115-4B05-AC06-B8BB1CE01212}" dt="2024-01-30T18:40:46.138" v="1549" actId="6549"/>
          <ac:spMkLst>
            <pc:docMk/>
            <pc:sldMk cId="2212985029" sldId="384"/>
            <ac:spMk id="18" creationId="{80455EAB-48E2-0BB7-7BF1-15E1F9CEF8E1}"/>
          </ac:spMkLst>
        </pc:spChg>
        <pc:spChg chg="mod">
          <ac:chgData name="Garus-Kogi, Oghenedoro F SPDC-IUC/G/T" userId="78f19ff7-fab7-43d5-a554-8985d8c96af4" providerId="ADAL" clId="{6BD4EBF3-B115-4B05-AC06-B8BB1CE01212}" dt="2024-01-30T19:41:36.295" v="3860" actId="20577"/>
          <ac:spMkLst>
            <pc:docMk/>
            <pc:sldMk cId="2212985029" sldId="384"/>
            <ac:spMk id="19" creationId="{BAAFECF0-4A24-F69E-14E1-8B029993EFE7}"/>
          </ac:spMkLst>
        </pc:spChg>
        <pc:spChg chg="mod">
          <ac:chgData name="Garus-Kogi, Oghenedoro F SPDC-IUC/G/T" userId="78f19ff7-fab7-43d5-a554-8985d8c96af4" providerId="ADAL" clId="{6BD4EBF3-B115-4B05-AC06-B8BB1CE01212}" dt="2024-01-30T18:41:26.909" v="1550" actId="552"/>
          <ac:spMkLst>
            <pc:docMk/>
            <pc:sldMk cId="2212985029" sldId="384"/>
            <ac:spMk id="21" creationId="{0625129A-E664-9A7E-D401-8793FA9AAE30}"/>
          </ac:spMkLst>
        </pc:spChg>
        <pc:spChg chg="mod">
          <ac:chgData name="Garus-Kogi, Oghenedoro F SPDC-IUC/G/T" userId="78f19ff7-fab7-43d5-a554-8985d8c96af4" providerId="ADAL" clId="{6BD4EBF3-B115-4B05-AC06-B8BB1CE01212}" dt="2024-01-31T13:59:09.696" v="6168" actId="6549"/>
          <ac:spMkLst>
            <pc:docMk/>
            <pc:sldMk cId="2212985029" sldId="384"/>
            <ac:spMk id="22" creationId="{19ECC8C6-8167-DD14-07BE-AA48A851D0C1}"/>
          </ac:spMkLst>
        </pc:spChg>
        <pc:spChg chg="mod">
          <ac:chgData name="Garus-Kogi, Oghenedoro F SPDC-IUC/G/T" userId="78f19ff7-fab7-43d5-a554-8985d8c96af4" providerId="ADAL" clId="{6BD4EBF3-B115-4B05-AC06-B8BB1CE01212}" dt="2024-01-30T18:41:37.242" v="1551" actId="552"/>
          <ac:spMkLst>
            <pc:docMk/>
            <pc:sldMk cId="2212985029" sldId="384"/>
            <ac:spMk id="24" creationId="{9C7C9DCE-9BB6-0271-399E-A7F249710AE5}"/>
          </ac:spMkLst>
        </pc:spChg>
        <pc:spChg chg="mod">
          <ac:chgData name="Garus-Kogi, Oghenedoro F SPDC-IUC/G/T" userId="78f19ff7-fab7-43d5-a554-8985d8c96af4" providerId="ADAL" clId="{6BD4EBF3-B115-4B05-AC06-B8BB1CE01212}" dt="2024-01-30T19:41:20.828" v="3848" actId="20577"/>
          <ac:spMkLst>
            <pc:docMk/>
            <pc:sldMk cId="2212985029" sldId="384"/>
            <ac:spMk id="25" creationId="{2EC57D2F-6250-4E94-0E39-60F9685B4300}"/>
          </ac:spMkLst>
        </pc:spChg>
        <pc:spChg chg="mod">
          <ac:chgData name="Garus-Kogi, Oghenedoro F SPDC-IUC/G/T" userId="78f19ff7-fab7-43d5-a554-8985d8c96af4" providerId="ADAL" clId="{6BD4EBF3-B115-4B05-AC06-B8BB1CE01212}" dt="2024-01-30T18:40:07.430" v="1533" actId="552"/>
          <ac:spMkLst>
            <pc:docMk/>
            <pc:sldMk cId="2212985029" sldId="384"/>
            <ac:spMk id="27" creationId="{A55A8873-D69A-1514-91FF-FB985B790973}"/>
          </ac:spMkLst>
        </pc:spChg>
        <pc:spChg chg="del">
          <ac:chgData name="Garus-Kogi, Oghenedoro F SPDC-IUC/G/T" userId="78f19ff7-fab7-43d5-a554-8985d8c96af4" providerId="ADAL" clId="{6BD4EBF3-B115-4B05-AC06-B8BB1CE01212}" dt="2024-01-30T18:25:42.504" v="613" actId="478"/>
          <ac:spMkLst>
            <pc:docMk/>
            <pc:sldMk cId="2212985029" sldId="384"/>
            <ac:spMk id="28" creationId="{AD9F62E2-8AE4-1275-D708-E9F4BB30A642}"/>
          </ac:spMkLst>
        </pc:spChg>
        <pc:spChg chg="del">
          <ac:chgData name="Garus-Kogi, Oghenedoro F SPDC-IUC/G/T" userId="78f19ff7-fab7-43d5-a554-8985d8c96af4" providerId="ADAL" clId="{6BD4EBF3-B115-4B05-AC06-B8BB1CE01212}" dt="2024-01-30T18:25:42.504" v="613" actId="478"/>
          <ac:spMkLst>
            <pc:docMk/>
            <pc:sldMk cId="2212985029" sldId="384"/>
            <ac:spMk id="29" creationId="{C3C2C307-B200-4726-FC75-45F229CB73C5}"/>
          </ac:spMkLst>
        </pc:spChg>
        <pc:spChg chg="del">
          <ac:chgData name="Garus-Kogi, Oghenedoro F SPDC-IUC/G/T" userId="78f19ff7-fab7-43d5-a554-8985d8c96af4" providerId="ADAL" clId="{6BD4EBF3-B115-4B05-AC06-B8BB1CE01212}" dt="2024-01-30T18:25:42.504" v="613" actId="478"/>
          <ac:spMkLst>
            <pc:docMk/>
            <pc:sldMk cId="2212985029" sldId="384"/>
            <ac:spMk id="30" creationId="{CA3F2803-4CBD-07F0-580D-CEDEFF6D2DE8}"/>
          </ac:spMkLst>
        </pc:spChg>
        <pc:spChg chg="del">
          <ac:chgData name="Garus-Kogi, Oghenedoro F SPDC-IUC/G/T" userId="78f19ff7-fab7-43d5-a554-8985d8c96af4" providerId="ADAL" clId="{6BD4EBF3-B115-4B05-AC06-B8BB1CE01212}" dt="2024-01-30T18:25:42.504" v="613" actId="478"/>
          <ac:spMkLst>
            <pc:docMk/>
            <pc:sldMk cId="2212985029" sldId="384"/>
            <ac:spMk id="31" creationId="{92FB7CDB-5ABB-6F55-51A1-66CBD18E91EC}"/>
          </ac:spMkLst>
        </pc:spChg>
        <pc:spChg chg="del">
          <ac:chgData name="Garus-Kogi, Oghenedoro F SPDC-IUC/G/T" userId="78f19ff7-fab7-43d5-a554-8985d8c96af4" providerId="ADAL" clId="{6BD4EBF3-B115-4B05-AC06-B8BB1CE01212}" dt="2024-01-30T18:25:42.504" v="613" actId="478"/>
          <ac:spMkLst>
            <pc:docMk/>
            <pc:sldMk cId="2212985029" sldId="384"/>
            <ac:spMk id="32" creationId="{E46634CF-ABF2-B715-966F-5B5D603BE6D7}"/>
          </ac:spMkLst>
        </pc:spChg>
        <pc:spChg chg="del">
          <ac:chgData name="Garus-Kogi, Oghenedoro F SPDC-IUC/G/T" userId="78f19ff7-fab7-43d5-a554-8985d8c96af4" providerId="ADAL" clId="{6BD4EBF3-B115-4B05-AC06-B8BB1CE01212}" dt="2024-01-30T18:25:42.504" v="613" actId="478"/>
          <ac:spMkLst>
            <pc:docMk/>
            <pc:sldMk cId="2212985029" sldId="384"/>
            <ac:spMk id="33" creationId="{5DBC77AA-9B4D-2B18-52C1-2BFAB5310E55}"/>
          </ac:spMkLst>
        </pc:spChg>
        <pc:spChg chg="del">
          <ac:chgData name="Garus-Kogi, Oghenedoro F SPDC-IUC/G/T" userId="78f19ff7-fab7-43d5-a554-8985d8c96af4" providerId="ADAL" clId="{6BD4EBF3-B115-4B05-AC06-B8BB1CE01212}" dt="2024-01-30T18:25:42.504" v="613" actId="478"/>
          <ac:spMkLst>
            <pc:docMk/>
            <pc:sldMk cId="2212985029" sldId="384"/>
            <ac:spMk id="34" creationId="{E6461EB4-0B44-B405-AED5-48BB1BADC2D6}"/>
          </ac:spMkLst>
        </pc:spChg>
        <pc:spChg chg="del">
          <ac:chgData name="Garus-Kogi, Oghenedoro F SPDC-IUC/G/T" userId="78f19ff7-fab7-43d5-a554-8985d8c96af4" providerId="ADAL" clId="{6BD4EBF3-B115-4B05-AC06-B8BB1CE01212}" dt="2024-01-30T18:25:42.504" v="613" actId="478"/>
          <ac:spMkLst>
            <pc:docMk/>
            <pc:sldMk cId="2212985029" sldId="384"/>
            <ac:spMk id="35" creationId="{194F4F85-41FA-218A-ACC9-01EE44E452D3}"/>
          </ac:spMkLst>
        </pc:spChg>
        <pc:spChg chg="del">
          <ac:chgData name="Garus-Kogi, Oghenedoro F SPDC-IUC/G/T" userId="78f19ff7-fab7-43d5-a554-8985d8c96af4" providerId="ADAL" clId="{6BD4EBF3-B115-4B05-AC06-B8BB1CE01212}" dt="2024-01-30T18:25:42.504" v="613" actId="478"/>
          <ac:spMkLst>
            <pc:docMk/>
            <pc:sldMk cId="2212985029" sldId="384"/>
            <ac:spMk id="36" creationId="{DE2D16C8-8961-B2F0-B0EB-5F571BC6C113}"/>
          </ac:spMkLst>
        </pc:spChg>
        <pc:spChg chg="mod">
          <ac:chgData name="Garus-Kogi, Oghenedoro F SPDC-IUC/G/T" userId="78f19ff7-fab7-43d5-a554-8985d8c96af4" providerId="ADAL" clId="{6BD4EBF3-B115-4B05-AC06-B8BB1CE01212}" dt="2024-01-30T18:17:24.641" v="74" actId="108"/>
          <ac:spMkLst>
            <pc:docMk/>
            <pc:sldMk cId="2212985029" sldId="384"/>
            <ac:spMk id="37" creationId="{00000000-0000-0000-0000-000000000000}"/>
          </ac:spMkLst>
        </pc:spChg>
        <pc:grpChg chg="add del mod">
          <ac:chgData name="Garus-Kogi, Oghenedoro F SPDC-IUC/G/T" userId="78f19ff7-fab7-43d5-a554-8985d8c96af4" providerId="ADAL" clId="{6BD4EBF3-B115-4B05-AC06-B8BB1CE01212}" dt="2024-01-30T18:39:50.917" v="1532" actId="1076"/>
          <ac:grpSpMkLst>
            <pc:docMk/>
            <pc:sldMk cId="2212985029" sldId="384"/>
            <ac:grpSpMk id="38" creationId="{00000000-0000-0000-0000-000000000000}"/>
          </ac:grpSpMkLst>
        </pc:grpChg>
        <pc:picChg chg="add del">
          <ac:chgData name="Garus-Kogi, Oghenedoro F SPDC-IUC/G/T" userId="78f19ff7-fab7-43d5-a554-8985d8c96af4" providerId="ADAL" clId="{6BD4EBF3-B115-4B05-AC06-B8BB1CE01212}" dt="2024-01-30T18:39:30.930" v="1526" actId="21"/>
          <ac:picMkLst>
            <pc:docMk/>
            <pc:sldMk cId="2212985029" sldId="384"/>
            <ac:picMk id="8" creationId="{00000000-0000-0000-0000-000000000000}"/>
          </ac:picMkLst>
        </pc:picChg>
      </pc:sldChg>
      <pc:sldChg chg="del">
        <pc:chgData name="Garus-Kogi, Oghenedoro F SPDC-IUC/G/T" userId="78f19ff7-fab7-43d5-a554-8985d8c96af4" providerId="ADAL" clId="{6BD4EBF3-B115-4B05-AC06-B8BB1CE01212}" dt="2024-01-30T18:10:54.339" v="12" actId="47"/>
        <pc:sldMkLst>
          <pc:docMk/>
          <pc:sldMk cId="3683178045" sldId="385"/>
        </pc:sldMkLst>
      </pc:sldChg>
      <pc:sldChg chg="del">
        <pc:chgData name="Garus-Kogi, Oghenedoro F SPDC-IUC/G/T" userId="78f19ff7-fab7-43d5-a554-8985d8c96af4" providerId="ADAL" clId="{6BD4EBF3-B115-4B05-AC06-B8BB1CE01212}" dt="2024-01-30T18:10:37.270" v="6" actId="47"/>
        <pc:sldMkLst>
          <pc:docMk/>
          <pc:sldMk cId="1652235802" sldId="388"/>
        </pc:sldMkLst>
      </pc:sldChg>
      <pc:sldChg chg="del">
        <pc:chgData name="Garus-Kogi, Oghenedoro F SPDC-IUC/G/T" userId="78f19ff7-fab7-43d5-a554-8985d8c96af4" providerId="ADAL" clId="{6BD4EBF3-B115-4B05-AC06-B8BB1CE01212}" dt="2024-01-30T18:11:19.403" v="19" actId="47"/>
        <pc:sldMkLst>
          <pc:docMk/>
          <pc:sldMk cId="1020458243" sldId="389"/>
        </pc:sldMkLst>
      </pc:sldChg>
      <pc:sldChg chg="del">
        <pc:chgData name="Garus-Kogi, Oghenedoro F SPDC-IUC/G/T" userId="78f19ff7-fab7-43d5-a554-8985d8c96af4" providerId="ADAL" clId="{6BD4EBF3-B115-4B05-AC06-B8BB1CE01212}" dt="2024-01-30T18:11:17.680" v="18" actId="47"/>
        <pc:sldMkLst>
          <pc:docMk/>
          <pc:sldMk cId="174469235" sldId="390"/>
        </pc:sldMkLst>
      </pc:sldChg>
      <pc:sldChg chg="del">
        <pc:chgData name="Garus-Kogi, Oghenedoro F SPDC-IUC/G/T" userId="78f19ff7-fab7-43d5-a554-8985d8c96af4" providerId="ADAL" clId="{6BD4EBF3-B115-4B05-AC06-B8BB1CE01212}" dt="2024-01-30T18:11:11.334" v="16" actId="47"/>
        <pc:sldMkLst>
          <pc:docMk/>
          <pc:sldMk cId="2081606679" sldId="391"/>
        </pc:sldMkLst>
      </pc:sldChg>
      <pc:sldChg chg="del">
        <pc:chgData name="Garus-Kogi, Oghenedoro F SPDC-IUC/G/T" userId="78f19ff7-fab7-43d5-a554-8985d8c96af4" providerId="ADAL" clId="{6BD4EBF3-B115-4B05-AC06-B8BB1CE01212}" dt="2024-01-30T18:11:14.554" v="17" actId="47"/>
        <pc:sldMkLst>
          <pc:docMk/>
          <pc:sldMk cId="3625640704" sldId="392"/>
        </pc:sldMkLst>
      </pc:sldChg>
      <pc:sldChg chg="add del">
        <pc:chgData name="Garus-Kogi, Oghenedoro F SPDC-IUC/G/T" userId="78f19ff7-fab7-43d5-a554-8985d8c96af4" providerId="ADAL" clId="{6BD4EBF3-B115-4B05-AC06-B8BB1CE01212}" dt="2024-01-31T10:31:35.862" v="4321"/>
        <pc:sldMkLst>
          <pc:docMk/>
          <pc:sldMk cId="2171111811" sldId="393"/>
        </pc:sldMkLst>
      </pc:sldChg>
      <pc:sldChg chg="del">
        <pc:chgData name="Garus-Kogi, Oghenedoro F SPDC-IUC/G/T" userId="78f19ff7-fab7-43d5-a554-8985d8c96af4" providerId="ADAL" clId="{6BD4EBF3-B115-4B05-AC06-B8BB1CE01212}" dt="2024-01-30T18:11:14.554" v="17" actId="47"/>
        <pc:sldMkLst>
          <pc:docMk/>
          <pc:sldMk cId="3353119115" sldId="393"/>
        </pc:sldMkLst>
      </pc:sldChg>
      <pc:sldChg chg="del">
        <pc:chgData name="Garus-Kogi, Oghenedoro F SPDC-IUC/G/T" userId="78f19ff7-fab7-43d5-a554-8985d8c96af4" providerId="ADAL" clId="{6BD4EBF3-B115-4B05-AC06-B8BB1CE01212}" dt="2024-01-30T18:11:04.959" v="14" actId="47"/>
        <pc:sldMkLst>
          <pc:docMk/>
          <pc:sldMk cId="1160782385" sldId="394"/>
        </pc:sldMkLst>
      </pc:sldChg>
      <pc:sldChg chg="add del">
        <pc:chgData name="Garus-Kogi, Oghenedoro F SPDC-IUC/G/T" userId="78f19ff7-fab7-43d5-a554-8985d8c96af4" providerId="ADAL" clId="{6BD4EBF3-B115-4B05-AC06-B8BB1CE01212}" dt="2024-01-31T10:31:35.862" v="4321"/>
        <pc:sldMkLst>
          <pc:docMk/>
          <pc:sldMk cId="2763023100" sldId="394"/>
        </pc:sldMkLst>
      </pc:sldChg>
      <pc:sldChg chg="del">
        <pc:chgData name="Garus-Kogi, Oghenedoro F SPDC-IUC/G/T" userId="78f19ff7-fab7-43d5-a554-8985d8c96af4" providerId="ADAL" clId="{6BD4EBF3-B115-4B05-AC06-B8BB1CE01212}" dt="2024-01-30T18:10:33.713" v="4" actId="47"/>
        <pc:sldMkLst>
          <pc:docMk/>
          <pc:sldMk cId="1392781913" sldId="395"/>
        </pc:sldMkLst>
      </pc:sldChg>
      <pc:sldChg chg="add del">
        <pc:chgData name="Garus-Kogi, Oghenedoro F SPDC-IUC/G/T" userId="78f19ff7-fab7-43d5-a554-8985d8c96af4" providerId="ADAL" clId="{6BD4EBF3-B115-4B05-AC06-B8BB1CE01212}" dt="2024-01-31T10:31:35.862" v="4321"/>
        <pc:sldMkLst>
          <pc:docMk/>
          <pc:sldMk cId="3642265004" sldId="395"/>
        </pc:sldMkLst>
      </pc:sldChg>
      <pc:sldChg chg="del">
        <pc:chgData name="Garus-Kogi, Oghenedoro F SPDC-IUC/G/T" userId="78f19ff7-fab7-43d5-a554-8985d8c96af4" providerId="ADAL" clId="{6BD4EBF3-B115-4B05-AC06-B8BB1CE01212}" dt="2024-01-30T18:10:54.339" v="12" actId="47"/>
        <pc:sldMkLst>
          <pc:docMk/>
          <pc:sldMk cId="2409699020" sldId="396"/>
        </pc:sldMkLst>
      </pc:sldChg>
      <pc:sldChg chg="add del">
        <pc:chgData name="Garus-Kogi, Oghenedoro F SPDC-IUC/G/T" userId="78f19ff7-fab7-43d5-a554-8985d8c96af4" providerId="ADAL" clId="{6BD4EBF3-B115-4B05-AC06-B8BB1CE01212}" dt="2024-01-31T10:31:35.862" v="4321"/>
        <pc:sldMkLst>
          <pc:docMk/>
          <pc:sldMk cId="2489667816" sldId="396"/>
        </pc:sldMkLst>
      </pc:sldChg>
      <pc:sldChg chg="del">
        <pc:chgData name="Garus-Kogi, Oghenedoro F SPDC-IUC/G/T" userId="78f19ff7-fab7-43d5-a554-8985d8c96af4" providerId="ADAL" clId="{6BD4EBF3-B115-4B05-AC06-B8BB1CE01212}" dt="2024-01-30T18:10:59.339" v="13" actId="47"/>
        <pc:sldMkLst>
          <pc:docMk/>
          <pc:sldMk cId="2761083709" sldId="397"/>
        </pc:sldMkLst>
      </pc:sldChg>
      <pc:sldChg chg="add del">
        <pc:chgData name="Garus-Kogi, Oghenedoro F SPDC-IUC/G/T" userId="78f19ff7-fab7-43d5-a554-8985d8c96af4" providerId="ADAL" clId="{6BD4EBF3-B115-4B05-AC06-B8BB1CE01212}" dt="2024-01-31T10:31:35.862" v="4321"/>
        <pc:sldMkLst>
          <pc:docMk/>
          <pc:sldMk cId="4112067543" sldId="397"/>
        </pc:sldMkLst>
      </pc:sldChg>
      <pc:sldChg chg="addSp delSp modSp add mod ord">
        <pc:chgData name="Garus-Kogi, Oghenedoro F SPDC-IUC/G/T" userId="78f19ff7-fab7-43d5-a554-8985d8c96af4" providerId="ADAL" clId="{6BD4EBF3-B115-4B05-AC06-B8BB1CE01212}" dt="2024-01-31T15:40:06.642" v="7632" actId="20577"/>
        <pc:sldMkLst>
          <pc:docMk/>
          <pc:sldMk cId="3434281376" sldId="7320"/>
        </pc:sldMkLst>
        <pc:spChg chg="mod">
          <ac:chgData name="Garus-Kogi, Oghenedoro F SPDC-IUC/G/T" userId="78f19ff7-fab7-43d5-a554-8985d8c96af4" providerId="ADAL" clId="{6BD4EBF3-B115-4B05-AC06-B8BB1CE01212}" dt="2024-01-30T20:16:36.156" v="4267" actId="1036"/>
          <ac:spMkLst>
            <pc:docMk/>
            <pc:sldMk cId="3434281376" sldId="7320"/>
            <ac:spMk id="4" creationId="{418110B4-5567-DEA2-5C88-D9257B885623}"/>
          </ac:spMkLst>
        </pc:spChg>
        <pc:spChg chg="del">
          <ac:chgData name="Garus-Kogi, Oghenedoro F SPDC-IUC/G/T" userId="78f19ff7-fab7-43d5-a554-8985d8c96af4" providerId="ADAL" clId="{6BD4EBF3-B115-4B05-AC06-B8BB1CE01212}" dt="2024-01-30T18:28:28.599" v="776" actId="478"/>
          <ac:spMkLst>
            <pc:docMk/>
            <pc:sldMk cId="3434281376" sldId="7320"/>
            <ac:spMk id="9" creationId="{F9E47730-4C56-94F3-F0C0-101959995490}"/>
          </ac:spMkLst>
        </pc:spChg>
        <pc:spChg chg="mod">
          <ac:chgData name="Garus-Kogi, Oghenedoro F SPDC-IUC/G/T" userId="78f19ff7-fab7-43d5-a554-8985d8c96af4" providerId="ADAL" clId="{6BD4EBF3-B115-4B05-AC06-B8BB1CE01212}" dt="2024-01-30T19:42:50.158" v="3866" actId="20577"/>
          <ac:spMkLst>
            <pc:docMk/>
            <pc:sldMk cId="3434281376" sldId="7320"/>
            <ac:spMk id="21" creationId="{EF751EEA-0EC6-C874-8603-6303AD559E38}"/>
          </ac:spMkLst>
        </pc:spChg>
        <pc:spChg chg="del">
          <ac:chgData name="Garus-Kogi, Oghenedoro F SPDC-IUC/G/T" userId="78f19ff7-fab7-43d5-a554-8985d8c96af4" providerId="ADAL" clId="{6BD4EBF3-B115-4B05-AC06-B8BB1CE01212}" dt="2024-01-30T18:27:01.406" v="721" actId="478"/>
          <ac:spMkLst>
            <pc:docMk/>
            <pc:sldMk cId="3434281376" sldId="7320"/>
            <ac:spMk id="23" creationId="{6643146C-6475-3830-62B1-06343F05A0E7}"/>
          </ac:spMkLst>
        </pc:spChg>
        <pc:spChg chg="add del mod">
          <ac:chgData name="Garus-Kogi, Oghenedoro F SPDC-IUC/G/T" userId="78f19ff7-fab7-43d5-a554-8985d8c96af4" providerId="ADAL" clId="{6BD4EBF3-B115-4B05-AC06-B8BB1CE01212}" dt="2024-01-30T20:16:53.733" v="4271" actId="14100"/>
          <ac:spMkLst>
            <pc:docMk/>
            <pc:sldMk cId="3434281376" sldId="7320"/>
            <ac:spMk id="26" creationId="{F54CDC7A-E668-8E9E-88AB-5DA81BF3E5A3}"/>
          </ac:spMkLst>
        </pc:spChg>
        <pc:spChg chg="mod">
          <ac:chgData name="Garus-Kogi, Oghenedoro F SPDC-IUC/G/T" userId="78f19ff7-fab7-43d5-a554-8985d8c96af4" providerId="ADAL" clId="{6BD4EBF3-B115-4B05-AC06-B8BB1CE01212}" dt="2024-01-30T20:17:16.287" v="4280" actId="1036"/>
          <ac:spMkLst>
            <pc:docMk/>
            <pc:sldMk cId="3434281376" sldId="7320"/>
            <ac:spMk id="27" creationId="{7F57073F-0C57-A91C-B5C1-B00584456675}"/>
          </ac:spMkLst>
        </pc:spChg>
        <pc:graphicFrameChg chg="mod modGraphic">
          <ac:chgData name="Garus-Kogi, Oghenedoro F SPDC-IUC/G/T" userId="78f19ff7-fab7-43d5-a554-8985d8c96af4" providerId="ADAL" clId="{6BD4EBF3-B115-4B05-AC06-B8BB1CE01212}" dt="2024-01-30T20:16:53.733" v="4271" actId="14100"/>
          <ac:graphicFrameMkLst>
            <pc:docMk/>
            <pc:sldMk cId="3434281376" sldId="7320"/>
            <ac:graphicFrameMk id="2" creationId="{F7D5C95D-A8F8-2585-22B7-DF446277203A}"/>
          </ac:graphicFrameMkLst>
        </pc:graphicFrameChg>
        <pc:graphicFrameChg chg="mod modGraphic">
          <ac:chgData name="Garus-Kogi, Oghenedoro F SPDC-IUC/G/T" userId="78f19ff7-fab7-43d5-a554-8985d8c96af4" providerId="ADAL" clId="{6BD4EBF3-B115-4B05-AC06-B8BB1CE01212}" dt="2024-01-30T20:21:56.868" v="4298"/>
          <ac:graphicFrameMkLst>
            <pc:docMk/>
            <pc:sldMk cId="3434281376" sldId="7320"/>
            <ac:graphicFrameMk id="8" creationId="{B22D0410-8B28-79FC-AAC4-FA6F058E117C}"/>
          </ac:graphicFrameMkLst>
        </pc:graphicFrameChg>
        <pc:graphicFrameChg chg="mod modGraphic">
          <ac:chgData name="Garus-Kogi, Oghenedoro F SPDC-IUC/G/T" userId="78f19ff7-fab7-43d5-a554-8985d8c96af4" providerId="ADAL" clId="{6BD4EBF3-B115-4B05-AC06-B8BB1CE01212}" dt="2024-01-31T15:40:06.642" v="7632" actId="20577"/>
          <ac:graphicFrameMkLst>
            <pc:docMk/>
            <pc:sldMk cId="3434281376" sldId="7320"/>
            <ac:graphicFrameMk id="10" creationId="{1E831E56-D80E-E3FB-0ED8-3EAF48F45515}"/>
          </ac:graphicFrameMkLst>
        </pc:graphicFrameChg>
        <pc:graphicFrameChg chg="modGraphic">
          <ac:chgData name="Garus-Kogi, Oghenedoro F SPDC-IUC/G/T" userId="78f19ff7-fab7-43d5-a554-8985d8c96af4" providerId="ADAL" clId="{6BD4EBF3-B115-4B05-AC06-B8BB1CE01212}" dt="2024-01-30T20:15:47.435" v="4252" actId="14100"/>
          <ac:graphicFrameMkLst>
            <pc:docMk/>
            <pc:sldMk cId="3434281376" sldId="7320"/>
            <ac:graphicFrameMk id="12" creationId="{8B0D94AA-F72A-343F-0CDD-0384A777EF21}"/>
          </ac:graphicFrameMkLst>
        </pc:graphicFrameChg>
        <pc:graphicFrameChg chg="mod modGraphic">
          <ac:chgData name="Garus-Kogi, Oghenedoro F SPDC-IUC/G/T" userId="78f19ff7-fab7-43d5-a554-8985d8c96af4" providerId="ADAL" clId="{6BD4EBF3-B115-4B05-AC06-B8BB1CE01212}" dt="2024-01-30T20:20:57.830" v="4293" actId="948"/>
          <ac:graphicFrameMkLst>
            <pc:docMk/>
            <pc:sldMk cId="3434281376" sldId="7320"/>
            <ac:graphicFrameMk id="15" creationId="{3B64B6EB-2A81-A51C-6754-9066D5DC93EB}"/>
          </ac:graphicFrameMkLst>
        </pc:graphicFrameChg>
        <pc:graphicFrameChg chg="mod modGraphic">
          <ac:chgData name="Garus-Kogi, Oghenedoro F SPDC-IUC/G/T" userId="78f19ff7-fab7-43d5-a554-8985d8c96af4" providerId="ADAL" clId="{6BD4EBF3-B115-4B05-AC06-B8BB1CE01212}" dt="2024-01-30T20:15:53.872" v="4253" actId="14100"/>
          <ac:graphicFrameMkLst>
            <pc:docMk/>
            <pc:sldMk cId="3434281376" sldId="7320"/>
            <ac:graphicFrameMk id="17" creationId="{4D0FEC4C-B5D1-718E-4C5C-2914F345FAE1}"/>
          </ac:graphicFrameMkLst>
        </pc:graphicFrameChg>
        <pc:graphicFrameChg chg="del">
          <ac:chgData name="Garus-Kogi, Oghenedoro F SPDC-IUC/G/T" userId="78f19ff7-fab7-43d5-a554-8985d8c96af4" providerId="ADAL" clId="{6BD4EBF3-B115-4B05-AC06-B8BB1CE01212}" dt="2024-01-30T18:28:28.599" v="776" actId="478"/>
          <ac:graphicFrameMkLst>
            <pc:docMk/>
            <pc:sldMk cId="3434281376" sldId="7320"/>
            <ac:graphicFrameMk id="24" creationId="{CEE347D6-06BC-DDD2-3B4A-4AD628187F55}"/>
          </ac:graphicFrameMkLst>
        </pc:graphicFrameChg>
        <pc:picChg chg="add mod">
          <ac:chgData name="Garus-Kogi, Oghenedoro F SPDC-IUC/G/T" userId="78f19ff7-fab7-43d5-a554-8985d8c96af4" providerId="ADAL" clId="{6BD4EBF3-B115-4B05-AC06-B8BB1CE01212}" dt="2024-01-30T20:16:18.816" v="4254" actId="555"/>
          <ac:picMkLst>
            <pc:docMk/>
            <pc:sldMk cId="3434281376" sldId="7320"/>
            <ac:picMk id="3" creationId="{E19DF511-9A7E-2A9F-092B-AA5821B0A908}"/>
          </ac:picMkLst>
        </pc:picChg>
      </pc:sldChg>
      <pc:sldChg chg="add del">
        <pc:chgData name="Garus-Kogi, Oghenedoro F SPDC-IUC/G/T" userId="78f19ff7-fab7-43d5-a554-8985d8c96af4" providerId="ADAL" clId="{6BD4EBF3-B115-4B05-AC06-B8BB1CE01212}" dt="2024-01-30T19:53:49.745" v="4053" actId="47"/>
        <pc:sldMkLst>
          <pc:docMk/>
          <pc:sldMk cId="1269401734" sldId="7321"/>
        </pc:sldMkLst>
      </pc:sldChg>
      <pc:sldChg chg="addSp delSp modSp add mod">
        <pc:chgData name="Garus-Kogi, Oghenedoro F SPDC-IUC/G/T" userId="78f19ff7-fab7-43d5-a554-8985d8c96af4" providerId="ADAL" clId="{6BD4EBF3-B115-4B05-AC06-B8BB1CE01212}" dt="2024-01-31T08:49:11.551" v="4316"/>
        <pc:sldMkLst>
          <pc:docMk/>
          <pc:sldMk cId="2177769906" sldId="7322"/>
        </pc:sldMkLst>
        <pc:spChg chg="mod">
          <ac:chgData name="Garus-Kogi, Oghenedoro F SPDC-IUC/G/T" userId="78f19ff7-fab7-43d5-a554-8985d8c96af4" providerId="ADAL" clId="{6BD4EBF3-B115-4B05-AC06-B8BB1CE01212}" dt="2024-01-31T08:49:11.551" v="4316"/>
          <ac:spMkLst>
            <pc:docMk/>
            <pc:sldMk cId="2177769906" sldId="7322"/>
            <ac:spMk id="4" creationId="{00000000-0000-0000-0000-000000000000}"/>
          </ac:spMkLst>
        </pc:spChg>
        <pc:graphicFrameChg chg="add del mod">
          <ac:chgData name="Garus-Kogi, Oghenedoro F SPDC-IUC/G/T" userId="78f19ff7-fab7-43d5-a554-8985d8c96af4" providerId="ADAL" clId="{6BD4EBF3-B115-4B05-AC06-B8BB1CE01212}" dt="2024-01-31T08:48:47.456" v="4311"/>
          <ac:graphicFrameMkLst>
            <pc:docMk/>
            <pc:sldMk cId="2177769906" sldId="7322"/>
            <ac:graphicFrameMk id="5" creationId="{3A08A265-36C9-08CE-92B2-052CDCBBEB6D}"/>
          </ac:graphicFrameMkLst>
        </pc:graphicFrameChg>
        <pc:graphicFrameChg chg="add mod">
          <ac:chgData name="Garus-Kogi, Oghenedoro F SPDC-IUC/G/T" userId="78f19ff7-fab7-43d5-a554-8985d8c96af4" providerId="ADAL" clId="{6BD4EBF3-B115-4B05-AC06-B8BB1CE01212}" dt="2024-01-31T08:48:47.472" v="4312"/>
          <ac:graphicFrameMkLst>
            <pc:docMk/>
            <pc:sldMk cId="2177769906" sldId="7322"/>
            <ac:graphicFrameMk id="8" creationId="{DBE1715E-2EE6-3B92-3EB7-D6B17EA94C2B}"/>
          </ac:graphicFrameMkLst>
        </pc:graphicFrameChg>
        <pc:picChg chg="add del mod">
          <ac:chgData name="Garus-Kogi, Oghenedoro F SPDC-IUC/G/T" userId="78f19ff7-fab7-43d5-a554-8985d8c96af4" providerId="ADAL" clId="{6BD4EBF3-B115-4B05-AC06-B8BB1CE01212}" dt="2024-01-31T08:48:47.456" v="4311"/>
          <ac:picMkLst>
            <pc:docMk/>
            <pc:sldMk cId="2177769906" sldId="7322"/>
            <ac:picMk id="7" creationId="{3F6C99DA-8853-B85B-6C11-F70D7CB273EA}"/>
          </ac:picMkLst>
        </pc:picChg>
        <pc:picChg chg="add mod">
          <ac:chgData name="Garus-Kogi, Oghenedoro F SPDC-IUC/G/T" userId="78f19ff7-fab7-43d5-a554-8985d8c96af4" providerId="ADAL" clId="{6BD4EBF3-B115-4B05-AC06-B8BB1CE01212}" dt="2024-01-31T08:48:47.472" v="4312"/>
          <ac:picMkLst>
            <pc:docMk/>
            <pc:sldMk cId="2177769906" sldId="7322"/>
            <ac:picMk id="9" creationId="{00962557-B19A-95D9-2344-A90F64C021B4}"/>
          </ac:picMkLst>
        </pc:picChg>
      </pc:sldChg>
      <pc:sldChg chg="add del">
        <pc:chgData name="Garus-Kogi, Oghenedoro F SPDC-IUC/G/T" userId="78f19ff7-fab7-43d5-a554-8985d8c96af4" providerId="ADAL" clId="{6BD4EBF3-B115-4B05-AC06-B8BB1CE01212}" dt="2024-01-31T07:15:58.675" v="4302"/>
        <pc:sldMkLst>
          <pc:docMk/>
          <pc:sldMk cId="246615150" sldId="7323"/>
        </pc:sldMkLst>
      </pc:sldChg>
      <pc:sldChg chg="add">
        <pc:chgData name="Garus-Kogi, Oghenedoro F SPDC-IUC/G/T" userId="78f19ff7-fab7-43d5-a554-8985d8c96af4" providerId="ADAL" clId="{6BD4EBF3-B115-4B05-AC06-B8BB1CE01212}" dt="2024-01-31T10:31:35.862" v="4321"/>
        <pc:sldMkLst>
          <pc:docMk/>
          <pc:sldMk cId="1250806822" sldId="7323"/>
        </pc:sldMkLst>
      </pc:sldChg>
      <pc:sldChg chg="add del">
        <pc:chgData name="Garus-Kogi, Oghenedoro F SPDC-IUC/G/T" userId="78f19ff7-fab7-43d5-a554-8985d8c96af4" providerId="ADAL" clId="{6BD4EBF3-B115-4B05-AC06-B8BB1CE01212}" dt="2024-01-31T10:31:35.741" v="4320"/>
        <pc:sldMkLst>
          <pc:docMk/>
          <pc:sldMk cId="1914020797" sldId="7323"/>
        </pc:sldMkLst>
      </pc:sldChg>
      <pc:sldChg chg="add del">
        <pc:chgData name="Garus-Kogi, Oghenedoro F SPDC-IUC/G/T" userId="78f19ff7-fab7-43d5-a554-8985d8c96af4" providerId="ADAL" clId="{6BD4EBF3-B115-4B05-AC06-B8BB1CE01212}" dt="2024-01-31T10:31:22.994" v="4318" actId="47"/>
        <pc:sldMkLst>
          <pc:docMk/>
          <pc:sldMk cId="3874910068" sldId="7323"/>
        </pc:sldMkLst>
      </pc:sldChg>
      <pc:sldChg chg="delSp add del mod">
        <pc:chgData name="Garus-Kogi, Oghenedoro F SPDC-IUC/G/T" userId="78f19ff7-fab7-43d5-a554-8985d8c96af4" providerId="ADAL" clId="{6BD4EBF3-B115-4B05-AC06-B8BB1CE01212}" dt="2024-01-31T08:49:18.845" v="4317" actId="47"/>
        <pc:sldMkLst>
          <pc:docMk/>
          <pc:sldMk cId="410234968" sldId="2134804691"/>
        </pc:sldMkLst>
        <pc:spChg chg="del">
          <ac:chgData name="Garus-Kogi, Oghenedoro F SPDC-IUC/G/T" userId="78f19ff7-fab7-43d5-a554-8985d8c96af4" providerId="ADAL" clId="{6BD4EBF3-B115-4B05-AC06-B8BB1CE01212}" dt="2024-01-31T08:37:17.063" v="4309" actId="478"/>
          <ac:spMkLst>
            <pc:docMk/>
            <pc:sldMk cId="410234968" sldId="2134804691"/>
            <ac:spMk id="4" creationId="{3E260AF5-D3C2-4265-BC5A-17E6B55F5E13}"/>
          </ac:spMkLst>
        </pc:spChg>
      </pc:sldChg>
      <pc:sldMasterChg chg="delSldLayout">
        <pc:chgData name="Garus-Kogi, Oghenedoro F SPDC-IUC/G/T" userId="78f19ff7-fab7-43d5-a554-8985d8c96af4" providerId="ADAL" clId="{6BD4EBF3-B115-4B05-AC06-B8BB1CE01212}" dt="2024-01-31T08:49:18.845" v="4317" actId="47"/>
        <pc:sldMasterMkLst>
          <pc:docMk/>
          <pc:sldMasterMk cId="0" sldId="2147483648"/>
        </pc:sldMasterMkLst>
        <pc:sldLayoutChg chg="del">
          <pc:chgData name="Garus-Kogi, Oghenedoro F SPDC-IUC/G/T" userId="78f19ff7-fab7-43d5-a554-8985d8c96af4" providerId="ADAL" clId="{6BD4EBF3-B115-4B05-AC06-B8BB1CE01212}" dt="2024-01-31T08:49:18.845" v="4317" actId="47"/>
          <pc:sldLayoutMkLst>
            <pc:docMk/>
            <pc:sldMasterMk cId="0" sldId="2147483648"/>
            <pc:sldLayoutMk cId="1581622795" sldId="2147483727"/>
          </pc:sldLayoutMkLst>
        </pc:sldLayoutChg>
      </pc:sldMasterChg>
      <pc:sldMasterChg chg="del delSldLayout">
        <pc:chgData name="Garus-Kogi, Oghenedoro F SPDC-IUC/G/T" userId="78f19ff7-fab7-43d5-a554-8985d8c96af4" providerId="ADAL" clId="{6BD4EBF3-B115-4B05-AC06-B8BB1CE01212}" dt="2024-01-31T10:31:22.994" v="4318" actId="47"/>
        <pc:sldMasterMkLst>
          <pc:docMk/>
          <pc:sldMasterMk cId="3906571293" sldId="2147483706"/>
        </pc:sldMasterMkLst>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1968961512" sldId="2147483707"/>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4257189883" sldId="2147483708"/>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710886782" sldId="2147483709"/>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912467866" sldId="2147483710"/>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1245513793" sldId="2147483711"/>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2658331991" sldId="2147483712"/>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4282382411" sldId="2147483713"/>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1423018226" sldId="2147483714"/>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952398823" sldId="2147483715"/>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1398247205" sldId="2147483716"/>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1678956476" sldId="2147483717"/>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2829718545" sldId="2147483718"/>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3063890933" sldId="2147483719"/>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4231087010" sldId="2147483720"/>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686536608" sldId="2147483721"/>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1480833271" sldId="2147483722"/>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1036709733" sldId="2147483723"/>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3679666624" sldId="2147483724"/>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747128349" sldId="2147483725"/>
          </pc:sldLayoutMkLst>
        </pc:sldLayoutChg>
        <pc:sldLayoutChg chg="del">
          <pc:chgData name="Garus-Kogi, Oghenedoro F SPDC-IUC/G/T" userId="78f19ff7-fab7-43d5-a554-8985d8c96af4" providerId="ADAL" clId="{6BD4EBF3-B115-4B05-AC06-B8BB1CE01212}" dt="2024-01-31T10:31:22.994" v="4318" actId="47"/>
          <pc:sldLayoutMkLst>
            <pc:docMk/>
            <pc:sldMasterMk cId="3906571293" sldId="2147483706"/>
            <pc:sldLayoutMk cId="272867849" sldId="214748372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latin typeface="ShellMedium" panose="00000600000000000000" pitchFamily="50"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ShellMedium" panose="00000600000000000000" pitchFamily="50" charset="0"/>
              </a:rPr>
              <a:pPr/>
              <a:t>12/02/2024</a:t>
            </a:fld>
            <a:endParaRPr lang="en-GB" dirty="0">
              <a:latin typeface="ShellMedium" panose="00000600000000000000" pitchFamily="50" charset="0"/>
            </a:endParaRPr>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latin typeface="ShellMedium" panose="00000600000000000000" pitchFamily="50" charset="0"/>
            </a:endParaRP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ShellMedium" panose="00000600000000000000" pitchFamily="50" charset="0"/>
              </a:rPr>
              <a:pPr/>
              <a:t>‹#›</a:t>
            </a:fld>
            <a:endParaRPr lang="en-GB" dirty="0">
              <a:latin typeface="ShellMedium" panose="00000600000000000000" pitchFamily="50"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Futura Medium" pitchFamily="2" charset="0"/>
              </a:defRPr>
            </a:lvl1pPr>
          </a:lstStyle>
          <a:p>
            <a:endParaRPr lang="en-GB" dirty="0">
              <a:latin typeface="ShellMedium" panose="00000600000000000000" pitchFamily="50" charset="0"/>
            </a:endParaRPr>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latin typeface="ShellMedium" panose="00000600000000000000" pitchFamily="50" charset="0"/>
              </a:rPr>
              <a:pPr/>
              <a:t>12/02/2024</a:t>
            </a:fld>
            <a:endParaRPr lang="en-GB" dirty="0">
              <a:latin typeface="ShellMedium" panose="00000600000000000000" pitchFamily="50" charset="0"/>
            </a:endParaRPr>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latin typeface="ShellMedium" panose="00000600000000000000" pitchFamily="50" charset="0"/>
            </a:endParaRPr>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latin typeface="ShellMedium" panose="00000600000000000000" pitchFamily="50" charset="0"/>
            </a:endParaRPr>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latin typeface="ShellMedium" panose="00000600000000000000" pitchFamily="50" charset="0"/>
              </a:rPr>
              <a:pPr/>
              <a:t>‹#›</a:t>
            </a:fld>
            <a:endParaRPr lang="en-GB" dirty="0">
              <a:latin typeface="ShellMedium" panose="00000600000000000000" pitchFamily="50" charset="0"/>
            </a:endParaRPr>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ShellMedium" panose="00000600000000000000" pitchFamily="50" charset="0"/>
        <a:ea typeface="+mn-ea"/>
        <a:cs typeface="+mn-cs"/>
      </a:defRPr>
    </a:lvl1pPr>
    <a:lvl2pPr marL="609585" algn="l" defTabSz="1219170" rtl="0" eaLnBrk="1" latinLnBrk="0" hangingPunct="1">
      <a:defRPr sz="1600" kern="1200">
        <a:solidFill>
          <a:schemeClr val="tx1"/>
        </a:solidFill>
        <a:latin typeface="ShellMedium" panose="00000600000000000000" pitchFamily="50" charset="0"/>
        <a:ea typeface="+mn-ea"/>
        <a:cs typeface="+mn-cs"/>
      </a:defRPr>
    </a:lvl2pPr>
    <a:lvl3pPr marL="1219170" algn="l" defTabSz="1219170" rtl="0" eaLnBrk="1" latinLnBrk="0" hangingPunct="1">
      <a:defRPr sz="1600" kern="1200">
        <a:solidFill>
          <a:schemeClr val="tx1"/>
        </a:solidFill>
        <a:latin typeface="ShellMedium" panose="00000600000000000000" pitchFamily="50" charset="0"/>
        <a:ea typeface="+mn-ea"/>
        <a:cs typeface="+mn-cs"/>
      </a:defRPr>
    </a:lvl3pPr>
    <a:lvl4pPr marL="1828754" algn="l" defTabSz="1219170" rtl="0" eaLnBrk="1" latinLnBrk="0" hangingPunct="1">
      <a:defRPr sz="1600" kern="1200">
        <a:solidFill>
          <a:schemeClr val="tx1"/>
        </a:solidFill>
        <a:latin typeface="ShellMedium" panose="00000600000000000000" pitchFamily="50" charset="0"/>
        <a:ea typeface="+mn-ea"/>
        <a:cs typeface="+mn-cs"/>
      </a:defRPr>
    </a:lvl4pPr>
    <a:lvl5pPr marL="2438339" algn="l" defTabSz="1219170" rtl="0" eaLnBrk="1" latinLnBrk="0" hangingPunct="1">
      <a:defRPr sz="1600" kern="1200">
        <a:solidFill>
          <a:schemeClr val="tx1"/>
        </a:solidFill>
        <a:latin typeface="ShellMedium" panose="00000600000000000000" pitchFamily="50"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ShellMedium" panose="00000600000000000000" pitchFamily="50"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ShellMedium" panose="00000600000000000000" pitchFamily="50" charset="0"/>
              </a:rPr>
              <a:pPr/>
              <a:t>1</a:t>
            </a:fld>
            <a:endParaRPr lang="en-GB" dirty="0">
              <a:latin typeface="ShellMedium" panose="00000600000000000000" pitchFamily="50" charset="0"/>
            </a:endParaRPr>
          </a:p>
        </p:txBody>
      </p:sp>
    </p:spTree>
    <p:extLst>
      <p:ext uri="{BB962C8B-B14F-4D97-AF65-F5344CB8AC3E}">
        <p14:creationId xmlns:p14="http://schemas.microsoft.com/office/powerpoint/2010/main" val="20799279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3227383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3946317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ShellMedium" panose="00000600000000000000" pitchFamily="50"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ShellMedium" panose="00000600000000000000" pitchFamily="50" charset="0"/>
              </a:rPr>
              <a:pPr/>
              <a:t>16</a:t>
            </a:fld>
            <a:endParaRPr lang="en-GB" dirty="0">
              <a:latin typeface="ShellMedium" panose="00000600000000000000" pitchFamily="50" charset="0"/>
            </a:endParaRPr>
          </a:p>
        </p:txBody>
      </p:sp>
    </p:spTree>
    <p:extLst>
      <p:ext uri="{BB962C8B-B14F-4D97-AF65-F5344CB8AC3E}">
        <p14:creationId xmlns:p14="http://schemas.microsoft.com/office/powerpoint/2010/main" val="134397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ShellMedium" panose="00000600000000000000" pitchFamily="50"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ShellMedium" panose="00000600000000000000" pitchFamily="50" charset="0"/>
              </a:rPr>
              <a:pPr/>
              <a:t>18</a:t>
            </a:fld>
            <a:endParaRPr lang="en-GB" dirty="0">
              <a:latin typeface="ShellMedium" panose="00000600000000000000" pitchFamily="50" charset="0"/>
            </a:endParaRPr>
          </a:p>
        </p:txBody>
      </p:sp>
    </p:spTree>
    <p:extLst>
      <p:ext uri="{BB962C8B-B14F-4D97-AF65-F5344CB8AC3E}">
        <p14:creationId xmlns:p14="http://schemas.microsoft.com/office/powerpoint/2010/main" val="40851916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dirty="0">
              <a:latin typeface="ShellMedium" panose="00000600000000000000" pitchFamily="50"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ShellMedium" panose="00000600000000000000" pitchFamily="50" charset="0"/>
              </a:rPr>
              <a:pPr/>
              <a:t>19</a:t>
            </a:fld>
            <a:endParaRPr lang="en-GB" dirty="0">
              <a:latin typeface="ShellMedium" panose="00000600000000000000" pitchFamily="50" charset="0"/>
            </a:endParaRPr>
          </a:p>
        </p:txBody>
      </p:sp>
    </p:spTree>
    <p:extLst>
      <p:ext uri="{BB962C8B-B14F-4D97-AF65-F5344CB8AC3E}">
        <p14:creationId xmlns:p14="http://schemas.microsoft.com/office/powerpoint/2010/main" val="2746980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dirty="0">
              <a:latin typeface="ShellMedium" panose="00000600000000000000" pitchFamily="50" charset="0"/>
            </a:endParaRPr>
          </a:p>
        </p:txBody>
      </p:sp>
      <p:sp>
        <p:nvSpPr>
          <p:cNvPr id="4" name="Slide Number Placeholder 3"/>
          <p:cNvSpPr>
            <a:spLocks noGrp="1"/>
          </p:cNvSpPr>
          <p:nvPr>
            <p:ph type="sldNum" sz="quarter" idx="10"/>
          </p:nvPr>
        </p:nvSpPr>
        <p:spPr/>
        <p:txBody>
          <a:bodyPr/>
          <a:lstStyle/>
          <a:p>
            <a:fld id="{20B9C825-F38E-45BB-92C1-043DE61C9183}" type="slidenum">
              <a:rPr lang="en-GB" smtClean="0">
                <a:latin typeface="ShellMedium" panose="00000600000000000000" pitchFamily="50" charset="0"/>
              </a:rPr>
              <a:pPr/>
              <a:t>2</a:t>
            </a:fld>
            <a:endParaRPr lang="en-GB" dirty="0">
              <a:latin typeface="ShellMedium" panose="00000600000000000000" pitchFamily="50" charset="0"/>
            </a:endParaRPr>
          </a:p>
        </p:txBody>
      </p:sp>
    </p:spTree>
    <p:extLst>
      <p:ext uri="{BB962C8B-B14F-4D97-AF65-F5344CB8AC3E}">
        <p14:creationId xmlns:p14="http://schemas.microsoft.com/office/powerpoint/2010/main" val="2704121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ShellMedium" panose="00000600000000000000" pitchFamily="50"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ShellMedium" panose="00000600000000000000" pitchFamily="50" charset="0"/>
              </a:rPr>
              <a:pPr/>
              <a:t>3</a:t>
            </a:fld>
            <a:endParaRPr lang="en-GB" dirty="0">
              <a:latin typeface="ShellMedium" panose="00000600000000000000" pitchFamily="50" charset="0"/>
            </a:endParaRPr>
          </a:p>
        </p:txBody>
      </p:sp>
    </p:spTree>
    <p:extLst>
      <p:ext uri="{BB962C8B-B14F-4D97-AF65-F5344CB8AC3E}">
        <p14:creationId xmlns:p14="http://schemas.microsoft.com/office/powerpoint/2010/main" val="898805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116625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B9C825-F38E-45BB-92C1-043DE61C9183}"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3967818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3266455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3227383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a:t>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32273831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200" b="0" i="0" u="none" strike="noStrike" kern="1200" cap="none" spc="0" normalizeH="0" baseline="0" noProof="0" smtClean="0">
                <a:ln>
                  <a:noFill/>
                </a:ln>
                <a:solidFill>
                  <a:srgbClr val="595959"/>
                </a:solidFill>
                <a:effectLst/>
                <a:uLnTx/>
                <a:uFillTx/>
                <a:latin typeface="Futura Medium"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srgbClr val="595959"/>
              </a:solidFill>
              <a:effectLst/>
              <a:uLnTx/>
              <a:uFillTx/>
              <a:latin typeface="Futura Medium" pitchFamily="2" charset="0"/>
              <a:ea typeface="+mn-ea"/>
              <a:cs typeface="+mn-cs"/>
            </a:endParaRPr>
          </a:p>
        </p:txBody>
      </p:sp>
    </p:spTree>
    <p:extLst>
      <p:ext uri="{BB962C8B-B14F-4D97-AF65-F5344CB8AC3E}">
        <p14:creationId xmlns:p14="http://schemas.microsoft.com/office/powerpoint/2010/main" val="32273831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ti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t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t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ti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724"/>
            <a:ext cx="12193293" cy="6857276"/>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28" name="Rectangle 2"/>
          <p:cNvSpPr>
            <a:spLocks noGrp="1" noChangeArrowheads="1"/>
          </p:cNvSpPr>
          <p:nvPr userDrawn="1">
            <p:ph type="ctrTitle"/>
          </p:nvPr>
        </p:nvSpPr>
        <p:spPr>
          <a:xfrm>
            <a:off x="766800" y="2754403"/>
            <a:ext cx="9973373" cy="918000"/>
          </a:xfrm>
          <a:noFill/>
        </p:spPr>
        <p:txBody>
          <a:bodyPr lIns="0" tIns="0" rIns="0" anchor="b" anchorCtr="0"/>
          <a:lstStyle>
            <a:lvl1pPr>
              <a:lnSpc>
                <a:spcPct val="110000"/>
              </a:lnSpc>
              <a:defRPr sz="3600" b="0" kern="1200" cap="none" spc="0" baseline="0">
                <a:solidFill>
                  <a:schemeClr val="tx1"/>
                </a:solidFill>
                <a:latin typeface="+mj-lt"/>
                <a:cs typeface="Arial" pitchFamily="34" charset="0"/>
              </a:defRPr>
            </a:lvl1pPr>
          </a:lstStyle>
          <a:p>
            <a:r>
              <a:rPr lang="en-GB"/>
              <a:t>Click to edit Master title style</a:t>
            </a:r>
            <a:endParaRPr lang="en-GB" dirty="0"/>
          </a:p>
        </p:txBody>
      </p:sp>
      <p:sp>
        <p:nvSpPr>
          <p:cNvPr id="29" name="Rectangle 3"/>
          <p:cNvSpPr>
            <a:spLocks noGrp="1" noChangeArrowheads="1"/>
          </p:cNvSpPr>
          <p:nvPr userDrawn="1">
            <p:ph type="subTitle" idx="1"/>
          </p:nvPr>
        </p:nvSpPr>
        <p:spPr>
          <a:xfrm>
            <a:off x="766800" y="3805856"/>
            <a:ext cx="9976548" cy="749808"/>
          </a:xfrm>
        </p:spPr>
        <p:txBody>
          <a:bodyPr anchor="t" anchorCtr="0"/>
          <a:lstStyle>
            <a:lvl1pPr marL="0" indent="0">
              <a:lnSpc>
                <a:spcPct val="100000"/>
              </a:lnSpc>
              <a:spcBef>
                <a:spcPct val="0"/>
              </a:spcBef>
              <a:spcAft>
                <a:spcPts val="0"/>
              </a:spcAft>
              <a:buFont typeface="Wingdings" pitchFamily="2" charset="2"/>
              <a:buNone/>
              <a:defRPr sz="2000" baseline="0">
                <a:solidFill>
                  <a:schemeClr val="tx1"/>
                </a:solidFill>
                <a:latin typeface="+mn-lt"/>
                <a:cs typeface="Arial" pitchFamily="34" charset="0"/>
              </a:defRPr>
            </a:lvl1pPr>
          </a:lstStyle>
          <a:p>
            <a:r>
              <a:rPr lang="en-GB"/>
              <a:t>Click to edit Master subtitle style</a:t>
            </a:r>
            <a:endParaRPr lang="en-GB" dirty="0"/>
          </a:p>
        </p:txBody>
      </p:sp>
      <p:sp>
        <p:nvSpPr>
          <p:cNvPr id="32" name="Text Placeholder 31"/>
          <p:cNvSpPr>
            <a:spLocks noGrp="1"/>
          </p:cNvSpPr>
          <p:nvPr userDrawn="1">
            <p:ph type="body" sz="quarter" idx="10" hasCustomPrompt="1"/>
          </p:nvPr>
        </p:nvSpPr>
        <p:spPr>
          <a:xfrm>
            <a:off x="766800" y="4832087"/>
            <a:ext cx="7871121"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766800" y="5083916"/>
            <a:ext cx="7871121" cy="237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SPDC</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3" name="TextBox 2" descr="CONFIDENTIAL_TAG_0xFFEE">
            <a:extLst>
              <a:ext uri="{FF2B5EF4-FFF2-40B4-BE49-F238E27FC236}">
                <a16:creationId xmlns:a16="http://schemas.microsoft.com/office/drawing/2014/main" id="{C2F4E70E-E455-F9A6-A02B-6EE06CD0867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extLst>
    <p:ext uri="{DCECCB84-F9BA-43D5-87BE-67443E8EF086}">
      <p15:sldGuideLst xmlns:p15="http://schemas.microsoft.com/office/powerpoint/2012/main">
        <p15:guide id="4" pos="7357" userDrawn="1">
          <p15:clr>
            <a:srgbClr val="FBAE40"/>
          </p15:clr>
        </p15:guide>
        <p15:guide id="5" pos="1121" userDrawn="1">
          <p15:clr>
            <a:srgbClr val="FBAE40"/>
          </p15:clr>
        </p15:guide>
        <p15:guide id="6" orient="horz" pos="4074" userDrawn="1">
          <p15:clr>
            <a:srgbClr val="FBAE40"/>
          </p15:clr>
        </p15:guide>
        <p15:guide id="7"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dirty="0" smtClean="0">
                <a:latin typeface="+mj-lt"/>
              </a:defRPr>
            </a:lvl1pPr>
          </a:lstStyle>
          <a:p>
            <a:pPr lvl="0"/>
            <a:r>
              <a:rPr lang="en-GB"/>
              <a:t>Click to edit Master title style</a:t>
            </a:r>
            <a:endParaRPr lang="en-GB" dirty="0"/>
          </a:p>
        </p:txBody>
      </p:sp>
      <p:sp>
        <p:nvSpPr>
          <p:cNvPr id="10" name="Content Placeholder 14"/>
          <p:cNvSpPr>
            <a:spLocks noGrp="1"/>
          </p:cNvSpPr>
          <p:nvPr>
            <p:ph sz="quarter" idx="13"/>
          </p:nvPr>
        </p:nvSpPr>
        <p:spPr>
          <a:xfrm>
            <a:off x="6472014" y="1688400"/>
            <a:ext cx="5207224" cy="4672970"/>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75000"/>
              <a:buFont typeface="Wingdings" panose="05000000000000000000" pitchFamily="2" charset="2"/>
              <a:buChar char="¢"/>
              <a:defRPr sz="1400"/>
            </a:lvl2pPr>
            <a:lvl3pPr marL="354200" indent="-177800">
              <a:lnSpc>
                <a:spcPct val="140000"/>
              </a:lnSpc>
              <a:spcBef>
                <a:spcPts val="0"/>
              </a:spcBef>
              <a:spcAft>
                <a:spcPts val="0"/>
              </a:spcAft>
              <a:buClr>
                <a:schemeClr val="accent2"/>
              </a:buClr>
              <a:buFont typeface="Wingdings" panose="05000000000000000000" pitchFamily="2" charset="2"/>
              <a:buChar char=""/>
              <a:defRPr sz="1400"/>
            </a:lvl3pPr>
            <a:lvl4pPr marL="532000" indent="-177800">
              <a:lnSpc>
                <a:spcPct val="140000"/>
              </a:lnSpc>
              <a:spcBef>
                <a:spcPts val="0"/>
              </a:spcBef>
              <a:spcAft>
                <a:spcPts val="0"/>
              </a:spcAft>
              <a:buClr>
                <a:schemeClr val="tx1"/>
              </a:buClr>
              <a:buFont typeface="Wingdings" panose="05000000000000000000" pitchFamily="2" charset="2"/>
              <a:buChar char=""/>
              <a:defRPr sz="1400"/>
            </a:lvl4pPr>
            <a:lvl5pPr marL="684400" indent="-152400">
              <a:lnSpc>
                <a:spcPct val="140000"/>
              </a:lnSpc>
              <a:spcBef>
                <a:spcPts val="0"/>
              </a:spcBef>
              <a:spcAft>
                <a:spcPts val="0"/>
              </a:spcAft>
              <a:buClr>
                <a:schemeClr val="tx1"/>
              </a:buClr>
              <a:buFont typeface="Wingdings" panose="05000000000000000000" pitchFamily="2" charset="2"/>
              <a:buChar char=""/>
              <a:defRPr sz="1200"/>
            </a:lvl5pPr>
            <a:lvl6pPr marL="824100" indent="-139700">
              <a:lnSpc>
                <a:spcPct val="140000"/>
              </a:lnSpc>
              <a:spcBef>
                <a:spcPts val="0"/>
              </a:spcBef>
              <a:spcAft>
                <a:spcPts val="0"/>
              </a:spcAft>
              <a:buClr>
                <a:schemeClr val="tx1"/>
              </a:buClr>
              <a:buFont typeface="Wingdings" panose="05000000000000000000" pitchFamily="2" charset="2"/>
              <a:buChar char=""/>
              <a:tabLst/>
              <a:defRPr sz="11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Text Placeholder 43"/>
          <p:cNvSpPr>
            <a:spLocks noGrp="1"/>
          </p:cNvSpPr>
          <p:nvPr>
            <p:ph type="body" sz="quarter" idx="11"/>
          </p:nvPr>
        </p:nvSpPr>
        <p:spPr>
          <a:xfrm>
            <a:off x="765174" y="1686554"/>
            <a:ext cx="5211763" cy="4672971"/>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75000"/>
              <a:buFont typeface="Wingdings" panose="05000000000000000000" pitchFamily="2" charset="2"/>
              <a:buChar char="¢"/>
              <a:defRPr sz="1400"/>
            </a:lvl2pPr>
            <a:lvl3pPr marL="354200" indent="-177800">
              <a:lnSpc>
                <a:spcPct val="140000"/>
              </a:lnSpc>
              <a:spcAft>
                <a:spcPts val="0"/>
              </a:spcAft>
              <a:buClr>
                <a:schemeClr val="accent2"/>
              </a:buClr>
              <a:buFont typeface="Wingdings" panose="05000000000000000000" pitchFamily="2" charset="2"/>
              <a:buChar char=""/>
              <a:defRPr sz="1400"/>
            </a:lvl3pPr>
            <a:lvl4pPr marL="532000" indent="-177800">
              <a:lnSpc>
                <a:spcPct val="140000"/>
              </a:lnSpc>
              <a:spcAft>
                <a:spcPts val="0"/>
              </a:spcAft>
              <a:buClr>
                <a:schemeClr val="tx1"/>
              </a:buClr>
              <a:buFont typeface="Wingdings" panose="05000000000000000000" pitchFamily="2" charset="2"/>
              <a:buChar char=""/>
              <a:defRPr sz="1400"/>
            </a:lvl4pPr>
            <a:lvl5pPr marL="684400" indent="-152400">
              <a:lnSpc>
                <a:spcPct val="140000"/>
              </a:lnSpc>
              <a:spcBef>
                <a:spcPts val="0"/>
              </a:spcBef>
              <a:spcAft>
                <a:spcPts val="0"/>
              </a:spcAft>
              <a:buClr>
                <a:schemeClr val="tx1"/>
              </a:buClr>
              <a:buFont typeface="Wingdings" panose="05000000000000000000" pitchFamily="2" charset="2"/>
              <a:buChar char=""/>
              <a:defRPr sz="1200"/>
            </a:lvl5pPr>
            <a:lvl6pPr marL="824100" indent="-139700">
              <a:lnSpc>
                <a:spcPct val="140000"/>
              </a:lnSpc>
              <a:spcBef>
                <a:spcPts val="0"/>
              </a:spcBef>
              <a:spcAft>
                <a:spcPts val="0"/>
              </a:spcAft>
              <a:buClr>
                <a:schemeClr val="tx1"/>
              </a:buClr>
              <a:buFont typeface="Wingdings" panose="05000000000000000000" pitchFamily="2" charset="2"/>
              <a:buChar char=""/>
              <a:defRPr sz="11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47101CF8-6759-D05C-980C-81E7896506D6}"/>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bwMode="auto">
          <a:xfrm>
            <a:off x="5047384" y="0"/>
            <a:ext cx="7144616" cy="6857999"/>
          </a:xfrm>
          <a:custGeom>
            <a:avLst/>
            <a:gdLst>
              <a:gd name="connsiteX0" fmla="*/ 0 w 7141676"/>
              <a:gd name="connsiteY0" fmla="*/ 0 h 6316132"/>
              <a:gd name="connsiteX1" fmla="*/ 7141676 w 7141676"/>
              <a:gd name="connsiteY1" fmla="*/ 0 h 6316132"/>
              <a:gd name="connsiteX2" fmla="*/ 7141676 w 7141676"/>
              <a:gd name="connsiteY2" fmla="*/ 6316132 h 6316132"/>
              <a:gd name="connsiteX3" fmla="*/ 0 w 7141676"/>
              <a:gd name="connsiteY3" fmla="*/ 6316132 h 6316132"/>
              <a:gd name="connsiteX4" fmla="*/ 0 w 7141676"/>
              <a:gd name="connsiteY4" fmla="*/ 0 h 6316132"/>
              <a:gd name="connsiteX0" fmla="*/ 2940 w 7144616"/>
              <a:gd name="connsiteY0" fmla="*/ 0 h 6316132"/>
              <a:gd name="connsiteX1" fmla="*/ 7144616 w 7144616"/>
              <a:gd name="connsiteY1" fmla="*/ 0 h 6316132"/>
              <a:gd name="connsiteX2" fmla="*/ 7144616 w 7144616"/>
              <a:gd name="connsiteY2" fmla="*/ 6316132 h 6316132"/>
              <a:gd name="connsiteX3" fmla="*/ 2940 w 7144616"/>
              <a:gd name="connsiteY3" fmla="*/ 6316132 h 6316132"/>
              <a:gd name="connsiteX4" fmla="*/ 0 w 7144616"/>
              <a:gd name="connsiteY4" fmla="*/ 5779942 h 6316132"/>
              <a:gd name="connsiteX5" fmla="*/ 2940 w 7144616"/>
              <a:gd name="connsiteY5" fmla="*/ 0 h 6316132"/>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2940 w 7144616"/>
              <a:gd name="connsiteY4" fmla="*/ 6316132 h 6316773"/>
              <a:gd name="connsiteX5" fmla="*/ 0 w 7144616"/>
              <a:gd name="connsiteY5" fmla="*/ 5779942 h 6316773"/>
              <a:gd name="connsiteX6" fmla="*/ 2940 w 7144616"/>
              <a:gd name="connsiteY6"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7008"/>
              <a:gd name="connsiteX1" fmla="*/ 7144616 w 7144616"/>
              <a:gd name="connsiteY1" fmla="*/ 0 h 6317008"/>
              <a:gd name="connsiteX2" fmla="*/ 7144616 w 7144616"/>
              <a:gd name="connsiteY2" fmla="*/ 6316132 h 6317008"/>
              <a:gd name="connsiteX3" fmla="*/ 537870 w 7144616"/>
              <a:gd name="connsiteY3" fmla="*/ 6316773 h 6317008"/>
              <a:gd name="connsiteX4" fmla="*/ 0 w 7144616"/>
              <a:gd name="connsiteY4" fmla="*/ 5779942 h 6317008"/>
              <a:gd name="connsiteX5" fmla="*/ 2940 w 7144616"/>
              <a:gd name="connsiteY5" fmla="*/ 0 h 6317008"/>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4616" h="6316773">
                <a:moveTo>
                  <a:pt x="2940" y="0"/>
                </a:moveTo>
                <a:lnTo>
                  <a:pt x="7144616" y="0"/>
                </a:lnTo>
                <a:lnTo>
                  <a:pt x="7144616" y="6316132"/>
                </a:lnTo>
                <a:lnTo>
                  <a:pt x="537870" y="6316773"/>
                </a:lnTo>
                <a:cubicBezTo>
                  <a:pt x="214457" y="6313295"/>
                  <a:pt x="5024" y="6140981"/>
                  <a:pt x="0" y="5779942"/>
                </a:cubicBezTo>
                <a:lnTo>
                  <a:pt x="2940" y="0"/>
                </a:lnTo>
                <a:close/>
              </a:path>
            </a:pathLst>
          </a:custGeom>
          <a:noFill/>
          <a:ln w="9525" algn="ctr">
            <a:noFill/>
            <a:miter lim="800000"/>
            <a:headEnd/>
            <a:tailEnd/>
          </a:ln>
        </p:spPr>
        <p:txBody>
          <a:bodyPr/>
          <a:lstStyle>
            <a:lvl1pPr>
              <a:defRPr sz="2133"/>
            </a:lvl1pPr>
          </a:lstStyle>
          <a:p>
            <a:r>
              <a:rPr lang="en-GB"/>
              <a:t>Click icon to add picture</a:t>
            </a:r>
            <a:endParaRPr lang="en-GB" dirty="0"/>
          </a:p>
        </p:txBody>
      </p:sp>
      <p:sp>
        <p:nvSpPr>
          <p:cNvPr id="34" name="Rectangle 2"/>
          <p:cNvSpPr>
            <a:spLocks noGrp="1" noChangeArrowheads="1"/>
          </p:cNvSpPr>
          <p:nvPr>
            <p:ph type="title"/>
          </p:nvPr>
        </p:nvSpPr>
        <p:spPr bwMode="auto">
          <a:xfrm>
            <a:off x="508000" y="712800"/>
            <a:ext cx="4425244"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mj-lt"/>
                <a:ea typeface="+mj-ea"/>
                <a:cs typeface="+mj-cs"/>
              </a:defRPr>
            </a:lvl1pPr>
          </a:lstStyle>
          <a:p>
            <a:pPr lvl="0"/>
            <a:r>
              <a:rPr lang="en-GB"/>
              <a:t>Click to edit Master title style</a:t>
            </a:r>
            <a:endParaRPr lang="en-GB" dirty="0"/>
          </a:p>
        </p:txBody>
      </p:sp>
      <p:sp>
        <p:nvSpPr>
          <p:cNvPr id="12" name="Text Placeholder 43"/>
          <p:cNvSpPr>
            <a:spLocks noGrp="1"/>
          </p:cNvSpPr>
          <p:nvPr>
            <p:ph type="body" sz="quarter" idx="11"/>
          </p:nvPr>
        </p:nvSpPr>
        <p:spPr>
          <a:xfrm>
            <a:off x="765175" y="1665286"/>
            <a:ext cx="3829404" cy="4694239"/>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75000"/>
              <a:buFont typeface="Wingdings" panose="05000000000000000000" pitchFamily="2" charset="2"/>
              <a:buChar char=""/>
              <a:defRPr sz="1800"/>
            </a:lvl2pPr>
            <a:lvl3pPr marL="459000" indent="-228600">
              <a:spcAft>
                <a:spcPts val="0"/>
              </a:spcAft>
              <a:buClr>
                <a:schemeClr val="accent2"/>
              </a:buClr>
              <a:buFont typeface="Wingdings" panose="05000000000000000000" pitchFamily="2" charset="2"/>
              <a:buChar char=""/>
              <a:defRPr sz="1800"/>
            </a:lvl3pPr>
            <a:lvl4pPr marL="687600" indent="-228600">
              <a:spcBef>
                <a:spcPts val="0"/>
              </a:spcBef>
              <a:spcAft>
                <a:spcPts val="0"/>
              </a:spcAft>
              <a:buClr>
                <a:schemeClr val="tx1"/>
              </a:buClr>
              <a:buFont typeface="Wingdings" panose="05000000000000000000" pitchFamily="2" charset="2"/>
              <a:buChar char=""/>
              <a:defRPr sz="1800"/>
            </a:lvl4pPr>
            <a:lvl5pPr marL="890800" indent="-203200">
              <a:spcBef>
                <a:spcPts val="0"/>
              </a:spcBef>
              <a:spcAft>
                <a:spcPts val="0"/>
              </a:spcAft>
              <a:buClr>
                <a:schemeClr val="tx1"/>
              </a:buClr>
              <a:buFont typeface="Wingdings" panose="05000000000000000000" pitchFamily="2" charset="2"/>
              <a:buChar char=""/>
              <a:defRPr sz="1600"/>
            </a:lvl5pPr>
            <a:lvl6pPr marL="1043200" indent="-152400">
              <a:spcBef>
                <a:spcPts val="0"/>
              </a:spcBef>
              <a:spcAft>
                <a:spcPts val="0"/>
              </a:spcAft>
              <a:buClr>
                <a:schemeClr val="tx1"/>
              </a:buClr>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BED022D6-084B-515B-29F5-0CA410414A9E}"/>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072813743"/>
      </p:ext>
    </p:extLst>
  </p:cSld>
  <p:clrMapOvr>
    <a:masterClrMapping/>
  </p:clrMapOvr>
  <p:transition/>
  <p:hf hdr="0"/>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mj-lt"/>
              </a:defRPr>
            </a:lvl1pPr>
          </a:lstStyle>
          <a:p>
            <a:pPr lvl="0"/>
            <a:r>
              <a:rPr lang="en-GB" noProof="0"/>
              <a:t>Click to edit Master title style</a:t>
            </a:r>
            <a:endParaRPr lang="en-GB" noProof="0" dirty="0"/>
          </a:p>
        </p:txBody>
      </p:sp>
      <p:sp>
        <p:nvSpPr>
          <p:cNvPr id="40" name="Content Placeholder 51"/>
          <p:cNvSpPr>
            <a:spLocks noGrp="1"/>
          </p:cNvSpPr>
          <p:nvPr>
            <p:ph sz="quarter" idx="46" hasCustomPrompt="1"/>
          </p:nvPr>
        </p:nvSpPr>
        <p:spPr>
          <a:xfrm>
            <a:off x="508000" y="4116538"/>
            <a:ext cx="5468938"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100" name="Content Placeholder 51"/>
          <p:cNvSpPr>
            <a:spLocks noGrp="1"/>
          </p:cNvSpPr>
          <p:nvPr>
            <p:ph sz="quarter" idx="55" hasCustomPrompt="1"/>
          </p:nvPr>
        </p:nvSpPr>
        <p:spPr>
          <a:xfrm>
            <a:off x="508000" y="1780690"/>
            <a:ext cx="5468938"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105" name="Content Placeholder 51"/>
          <p:cNvSpPr>
            <a:spLocks noGrp="1"/>
          </p:cNvSpPr>
          <p:nvPr>
            <p:ph sz="quarter" idx="58" hasCustomPrompt="1"/>
          </p:nvPr>
        </p:nvSpPr>
        <p:spPr>
          <a:xfrm>
            <a:off x="6215063" y="4116538"/>
            <a:ext cx="54641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110" name="Content Placeholder 51"/>
          <p:cNvSpPr>
            <a:spLocks noGrp="1"/>
          </p:cNvSpPr>
          <p:nvPr>
            <p:ph sz="quarter" idx="61" hasCustomPrompt="1"/>
          </p:nvPr>
        </p:nvSpPr>
        <p:spPr>
          <a:xfrm>
            <a:off x="6215063" y="1780690"/>
            <a:ext cx="54641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A380B97A-D4DF-4B36-2ECF-3687350E6F76}"/>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Graphs and Text">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mj-lt"/>
              </a:defRPr>
            </a:lvl1pPr>
          </a:lstStyle>
          <a:p>
            <a:pPr lvl="0"/>
            <a:r>
              <a:rPr lang="en-GB" noProof="0"/>
              <a:t>Click to edit Master title style</a:t>
            </a:r>
            <a:endParaRPr lang="en-GB" noProof="0" dirty="0"/>
          </a:p>
        </p:txBody>
      </p:sp>
      <p:sp>
        <p:nvSpPr>
          <p:cNvPr id="40" name="Content Placeholder 51"/>
          <p:cNvSpPr>
            <a:spLocks noGrp="1"/>
          </p:cNvSpPr>
          <p:nvPr>
            <p:ph sz="quarter" idx="46" hasCustomPrompt="1"/>
          </p:nvPr>
        </p:nvSpPr>
        <p:spPr>
          <a:xfrm>
            <a:off x="508000" y="4116538"/>
            <a:ext cx="5468938"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100" name="Content Placeholder 51"/>
          <p:cNvSpPr>
            <a:spLocks noGrp="1"/>
          </p:cNvSpPr>
          <p:nvPr>
            <p:ph sz="quarter" idx="55" hasCustomPrompt="1"/>
          </p:nvPr>
        </p:nvSpPr>
        <p:spPr>
          <a:xfrm>
            <a:off x="508000" y="1780690"/>
            <a:ext cx="5468938"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105" name="Content Placeholder 51"/>
          <p:cNvSpPr>
            <a:spLocks noGrp="1"/>
          </p:cNvSpPr>
          <p:nvPr>
            <p:ph sz="quarter" idx="58" hasCustomPrompt="1"/>
          </p:nvPr>
        </p:nvSpPr>
        <p:spPr>
          <a:xfrm>
            <a:off x="6215063" y="4116538"/>
            <a:ext cx="5464175" cy="234616"/>
          </a:xfrm>
        </p:spPr>
        <p:txBody>
          <a:bodyPr vert="horz" wrap="square" lIns="0" tIns="0" rIns="0" bIns="0" rtlCol="0">
            <a:spAutoFit/>
          </a:bodyPr>
          <a:lstStyle>
            <a:lvl1pPr marL="0" indent="0" algn="l" defTabSz="1219170" rtl="0" eaLnBrk="1" latinLnBrk="0" hangingPunct="1">
              <a:lnSpc>
                <a:spcPct val="119000"/>
              </a:lnSpc>
              <a:spcBef>
                <a:spcPts val="0"/>
              </a:spcBef>
              <a:spcAft>
                <a:spcPts val="0"/>
              </a:spcAft>
              <a:buClr>
                <a:srgbClr val="F7D117"/>
              </a:buClr>
              <a:buSzPct val="120000"/>
              <a:buFont typeface="Wingdings" pitchFamily="2" charset="2"/>
              <a:buNone/>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110" name="Content Placeholder 51"/>
          <p:cNvSpPr>
            <a:spLocks noGrp="1"/>
          </p:cNvSpPr>
          <p:nvPr>
            <p:ph sz="quarter" idx="61" hasCustomPrompt="1"/>
          </p:nvPr>
        </p:nvSpPr>
        <p:spPr>
          <a:xfrm>
            <a:off x="6215063" y="1780690"/>
            <a:ext cx="54641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9" name="Content Placeholder 9"/>
          <p:cNvSpPr>
            <a:spLocks noGrp="1"/>
          </p:cNvSpPr>
          <p:nvPr>
            <p:ph sz="quarter" idx="11"/>
          </p:nvPr>
        </p:nvSpPr>
        <p:spPr>
          <a:xfrm>
            <a:off x="509312" y="4510882"/>
            <a:ext cx="5467626"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0" name="Content Placeholder 9"/>
          <p:cNvSpPr>
            <a:spLocks noGrp="1"/>
          </p:cNvSpPr>
          <p:nvPr>
            <p:ph sz="quarter" idx="63"/>
          </p:nvPr>
        </p:nvSpPr>
        <p:spPr>
          <a:xfrm>
            <a:off x="6215063" y="4510882"/>
            <a:ext cx="5467626"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 name="TextBox 1" descr="CONFIDENTIAL_TAG_0xFFEE">
            <a:extLst>
              <a:ext uri="{FF2B5EF4-FFF2-40B4-BE49-F238E27FC236}">
                <a16:creationId xmlns:a16="http://schemas.microsoft.com/office/drawing/2014/main" id="{EDB55112-E9D9-A08B-F05C-2F8B5EF290DE}"/>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380717710"/>
      </p:ext>
    </p:extLst>
  </p:cSld>
  <p:clrMapOvr>
    <a:masterClrMapping/>
  </p:clrMapOvr>
  <p:transition/>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Graphs and Text">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atin typeface="+mj-lt"/>
              </a:defRPr>
            </a:lvl1pPr>
          </a:lstStyle>
          <a:p>
            <a:pPr lvl="0"/>
            <a:r>
              <a:rPr lang="en-GB" noProof="0"/>
              <a:t>Click to edit Master title style</a:t>
            </a:r>
            <a:endParaRPr lang="en-GB" noProof="0" dirty="0"/>
          </a:p>
        </p:txBody>
      </p:sp>
      <p:sp>
        <p:nvSpPr>
          <p:cNvPr id="40" name="Content Placeholder 51"/>
          <p:cNvSpPr>
            <a:spLocks noGrp="1"/>
          </p:cNvSpPr>
          <p:nvPr>
            <p:ph sz="quarter" idx="46" hasCustomPrompt="1"/>
          </p:nvPr>
        </p:nvSpPr>
        <p:spPr>
          <a:xfrm>
            <a:off x="507999" y="4116538"/>
            <a:ext cx="26066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100" name="Content Placeholder 51"/>
          <p:cNvSpPr>
            <a:spLocks noGrp="1"/>
          </p:cNvSpPr>
          <p:nvPr>
            <p:ph sz="quarter" idx="55" hasCustomPrompt="1"/>
          </p:nvPr>
        </p:nvSpPr>
        <p:spPr>
          <a:xfrm>
            <a:off x="507999" y="1780690"/>
            <a:ext cx="26066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02" name="Chart Placeholder 16"/>
          <p:cNvSpPr>
            <a:spLocks noGrp="1"/>
          </p:cNvSpPr>
          <p:nvPr>
            <p:ph type="chart" sz="quarter" idx="56"/>
          </p:nvPr>
        </p:nvSpPr>
        <p:spPr>
          <a:xfrm>
            <a:off x="507999" y="2120382"/>
            <a:ext cx="2606675"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105" name="Content Placeholder 51"/>
          <p:cNvSpPr>
            <a:spLocks noGrp="1"/>
          </p:cNvSpPr>
          <p:nvPr>
            <p:ph sz="quarter" idx="58" hasCustomPrompt="1"/>
          </p:nvPr>
        </p:nvSpPr>
        <p:spPr>
          <a:xfrm>
            <a:off x="6235536" y="4116538"/>
            <a:ext cx="2606400" cy="234616"/>
          </a:xfrm>
        </p:spPr>
        <p:txBody>
          <a:bodyPr vert="horz" wrap="square" lIns="0" tIns="0" rIns="0" bIns="0" rtlCol="0">
            <a:spAutoFit/>
          </a:bodyPr>
          <a:lstStyle>
            <a:lvl1pPr marL="0" indent="0" algn="l" defTabSz="1219170" rtl="0" eaLnBrk="1" latinLnBrk="0" hangingPunct="1">
              <a:lnSpc>
                <a:spcPct val="119000"/>
              </a:lnSpc>
              <a:spcBef>
                <a:spcPts val="0"/>
              </a:spcBef>
              <a:spcAft>
                <a:spcPts val="0"/>
              </a:spcAft>
              <a:buClr>
                <a:srgbClr val="F7D117"/>
              </a:buClr>
              <a:buSzPct val="120000"/>
              <a:buFont typeface="Wingdings" pitchFamily="2" charset="2"/>
              <a:buNone/>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110" name="Content Placeholder 51"/>
          <p:cNvSpPr>
            <a:spLocks noGrp="1"/>
          </p:cNvSpPr>
          <p:nvPr>
            <p:ph sz="quarter" idx="61" hasCustomPrompt="1"/>
          </p:nvPr>
        </p:nvSpPr>
        <p:spPr>
          <a:xfrm>
            <a:off x="6235536" y="1780690"/>
            <a:ext cx="2606400"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112" name="Chart Placeholder 16"/>
          <p:cNvSpPr>
            <a:spLocks noGrp="1"/>
          </p:cNvSpPr>
          <p:nvPr>
            <p:ph type="chart" sz="quarter" idx="62"/>
          </p:nvPr>
        </p:nvSpPr>
        <p:spPr>
          <a:xfrm>
            <a:off x="6235536" y="2120382"/>
            <a:ext cx="2606400"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9" name="Content Placeholder 9"/>
          <p:cNvSpPr>
            <a:spLocks noGrp="1"/>
          </p:cNvSpPr>
          <p:nvPr>
            <p:ph sz="quarter" idx="11"/>
          </p:nvPr>
        </p:nvSpPr>
        <p:spPr>
          <a:xfrm>
            <a:off x="509312" y="4510882"/>
            <a:ext cx="2606050"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0" name="Content Placeholder 9"/>
          <p:cNvSpPr>
            <a:spLocks noGrp="1"/>
          </p:cNvSpPr>
          <p:nvPr>
            <p:ph sz="quarter" idx="63"/>
          </p:nvPr>
        </p:nvSpPr>
        <p:spPr>
          <a:xfrm>
            <a:off x="6235534" y="4510882"/>
            <a:ext cx="2608046"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1" name="Content Placeholder 51"/>
          <p:cNvSpPr>
            <a:spLocks noGrp="1"/>
          </p:cNvSpPr>
          <p:nvPr>
            <p:ph sz="quarter" idx="64" hasCustomPrompt="1"/>
          </p:nvPr>
        </p:nvSpPr>
        <p:spPr>
          <a:xfrm>
            <a:off x="3369575" y="4116538"/>
            <a:ext cx="26066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22" name="Content Placeholder 51"/>
          <p:cNvSpPr>
            <a:spLocks noGrp="1"/>
          </p:cNvSpPr>
          <p:nvPr>
            <p:ph sz="quarter" idx="65" hasCustomPrompt="1"/>
          </p:nvPr>
        </p:nvSpPr>
        <p:spPr>
          <a:xfrm>
            <a:off x="3369575" y="1780690"/>
            <a:ext cx="2606675"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23" name="Chart Placeholder 16"/>
          <p:cNvSpPr>
            <a:spLocks noGrp="1"/>
          </p:cNvSpPr>
          <p:nvPr>
            <p:ph type="chart" sz="quarter" idx="66"/>
          </p:nvPr>
        </p:nvSpPr>
        <p:spPr>
          <a:xfrm>
            <a:off x="3369575" y="2120382"/>
            <a:ext cx="2606675"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24" name="Content Placeholder 9"/>
          <p:cNvSpPr>
            <a:spLocks noGrp="1"/>
          </p:cNvSpPr>
          <p:nvPr>
            <p:ph sz="quarter" idx="67"/>
          </p:nvPr>
        </p:nvSpPr>
        <p:spPr>
          <a:xfrm>
            <a:off x="3370888" y="4510882"/>
            <a:ext cx="2606050"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7" name="Content Placeholder 51"/>
          <p:cNvSpPr>
            <a:spLocks noGrp="1"/>
          </p:cNvSpPr>
          <p:nvPr>
            <p:ph sz="quarter" idx="68" hasCustomPrompt="1"/>
          </p:nvPr>
        </p:nvSpPr>
        <p:spPr>
          <a:xfrm>
            <a:off x="9071193" y="4116538"/>
            <a:ext cx="2606400" cy="234616"/>
          </a:xfrm>
        </p:spPr>
        <p:txBody>
          <a:bodyPr vert="horz" wrap="square" lIns="0" tIns="0" rIns="0" bIns="0" rtlCol="0">
            <a:spAutoFit/>
          </a:bodyPr>
          <a:lstStyle>
            <a:lvl1pPr marL="0" indent="0" algn="l" defTabSz="1219170" rtl="0" eaLnBrk="1" latinLnBrk="0" hangingPunct="1">
              <a:lnSpc>
                <a:spcPct val="119000"/>
              </a:lnSpc>
              <a:spcBef>
                <a:spcPts val="0"/>
              </a:spcBef>
              <a:spcAft>
                <a:spcPts val="0"/>
              </a:spcAft>
              <a:buClr>
                <a:srgbClr val="F7D117"/>
              </a:buClr>
              <a:buSzPct val="120000"/>
              <a:buFont typeface="Wingdings" pitchFamily="2" charset="2"/>
              <a:buNone/>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Subtitle appears here</a:t>
            </a:r>
          </a:p>
        </p:txBody>
      </p:sp>
      <p:sp>
        <p:nvSpPr>
          <p:cNvPr id="48" name="Content Placeholder 51"/>
          <p:cNvSpPr>
            <a:spLocks noGrp="1"/>
          </p:cNvSpPr>
          <p:nvPr>
            <p:ph sz="quarter" idx="69" hasCustomPrompt="1"/>
          </p:nvPr>
        </p:nvSpPr>
        <p:spPr>
          <a:xfrm>
            <a:off x="9071193" y="1780690"/>
            <a:ext cx="2606400" cy="234616"/>
          </a:xfrm>
        </p:spPr>
        <p:txBody>
          <a:bodyPr vert="horz" wrap="square" lIns="0" tIns="0" rIns="0" bIns="0" rtlCol="0">
            <a:spAutoFit/>
          </a:bodyPr>
          <a:lstStyle>
            <a:lvl1pPr>
              <a:lnSpc>
                <a:spcPct val="100000"/>
              </a:lnSpc>
              <a:defRPr lang="nl-NL" sz="1400" kern="1200" cap="none" baseline="0" dirty="0">
                <a:solidFill>
                  <a:schemeClr val="tx1"/>
                </a:solidFill>
                <a:latin typeface="ShellHeavy" panose="00000700000000000000" pitchFamily="2" charset="0"/>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sp>
        <p:nvSpPr>
          <p:cNvPr id="49" name="Chart Placeholder 16"/>
          <p:cNvSpPr>
            <a:spLocks noGrp="1"/>
          </p:cNvSpPr>
          <p:nvPr>
            <p:ph type="chart" sz="quarter" idx="70"/>
          </p:nvPr>
        </p:nvSpPr>
        <p:spPr>
          <a:xfrm>
            <a:off x="9071193" y="2120382"/>
            <a:ext cx="2606400" cy="1623641"/>
          </a:xfrm>
        </p:spPr>
        <p:txBody>
          <a:bodyPr>
            <a:normAutofit/>
          </a:bodyPr>
          <a:lstStyle>
            <a:lvl1pPr>
              <a:defRPr sz="1400">
                <a:solidFill>
                  <a:schemeClr val="tx1"/>
                </a:solidFill>
                <a:latin typeface="+mn-lt"/>
              </a:defRPr>
            </a:lvl1pPr>
          </a:lstStyle>
          <a:p>
            <a:r>
              <a:rPr lang="en-GB"/>
              <a:t>Click icon to add chart</a:t>
            </a:r>
            <a:endParaRPr lang="en-GB" dirty="0"/>
          </a:p>
        </p:txBody>
      </p:sp>
      <p:sp>
        <p:nvSpPr>
          <p:cNvPr id="50" name="Content Placeholder 9"/>
          <p:cNvSpPr>
            <a:spLocks noGrp="1"/>
          </p:cNvSpPr>
          <p:nvPr>
            <p:ph sz="quarter" idx="71"/>
          </p:nvPr>
        </p:nvSpPr>
        <p:spPr>
          <a:xfrm>
            <a:off x="9071191" y="4510882"/>
            <a:ext cx="2608046" cy="1568988"/>
          </a:xfrm>
        </p:spPr>
        <p:txBody>
          <a:bodyPr/>
          <a:lstStyle>
            <a:lvl1pPr marL="0" indent="0" defTabSz="357708">
              <a:lnSpc>
                <a:spcPct val="140000"/>
              </a:lnSpc>
              <a:spcBef>
                <a:spcPts val="0"/>
              </a:spcBef>
              <a:defRPr sz="1400"/>
            </a:lvl1pPr>
            <a:lvl2pPr marL="230400" indent="-230400" defTabSz="357708">
              <a:lnSpc>
                <a:spcPct val="140000"/>
              </a:lnSpc>
              <a:spcBef>
                <a:spcPts val="0"/>
              </a:spcBef>
              <a:defRPr sz="1400"/>
            </a:lvl2pPr>
            <a:lvl3pPr marL="459000" indent="-228600" defTabSz="357708">
              <a:lnSpc>
                <a:spcPct val="140000"/>
              </a:lnSpc>
              <a:spcBef>
                <a:spcPts val="0"/>
              </a:spcBef>
              <a:buClr>
                <a:schemeClr val="accent2"/>
              </a:buClr>
              <a:buSzPct val="100000"/>
              <a:buFont typeface="Wingdings" panose="05000000000000000000" pitchFamily="2" charset="2"/>
              <a:buChar char=""/>
              <a:defRPr sz="1400"/>
            </a:lvl3pPr>
            <a:lvl4pPr marL="687600" indent="-228600" defTabSz="357708">
              <a:lnSpc>
                <a:spcPct val="140000"/>
              </a:lnSpc>
              <a:spcBef>
                <a:spcPts val="0"/>
              </a:spcBef>
              <a:buClr>
                <a:schemeClr val="tx1"/>
              </a:buClr>
              <a:buSzPct val="100000"/>
              <a:buFont typeface="Wingdings" panose="05000000000000000000" pitchFamily="2" charset="2"/>
              <a:buChar char=""/>
              <a:defRPr sz="1200"/>
            </a:lvl4pPr>
            <a:lvl5pPr marL="890800" indent="-203200" defTabSz="357708">
              <a:lnSpc>
                <a:spcPct val="140000"/>
              </a:lnSpc>
              <a:spcBef>
                <a:spcPts val="0"/>
              </a:spcBef>
              <a:buClr>
                <a:schemeClr val="tx1"/>
              </a:buClr>
              <a:buSzPct val="100000"/>
              <a:buFont typeface="Wingdings" panose="05000000000000000000" pitchFamily="2" charset="2"/>
              <a:buChar char=""/>
              <a:defRPr sz="1100"/>
            </a:lvl5pPr>
            <a:lvl6pPr marL="1043200" indent="-152400" defTabSz="357708">
              <a:lnSpc>
                <a:spcPct val="140000"/>
              </a:lnSpc>
              <a:buClr>
                <a:schemeClr val="tx1"/>
              </a:buClr>
              <a:buSzPct val="100000"/>
              <a:buFont typeface="Wingdings" panose="05000000000000000000" pitchFamily="2" charset="2"/>
              <a:buChar char=""/>
              <a:defRPr sz="105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 name="TextBox 1" descr="CONFIDENTIAL_TAG_0xFFEE">
            <a:extLst>
              <a:ext uri="{FF2B5EF4-FFF2-40B4-BE49-F238E27FC236}">
                <a16:creationId xmlns:a16="http://schemas.microsoft.com/office/drawing/2014/main" id="{811D5755-21E6-29DC-4A3E-9ADADFE4951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787258848"/>
      </p:ext>
    </p:extLst>
  </p:cSld>
  <p:clrMapOvr>
    <a:masterClrMapping/>
  </p:clrMapOvr>
  <p:transition/>
  <p:hf hdr="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101" name="Picture 100"/>
          <p:cNvPicPr>
            <a:picLocks noChangeAspect="1"/>
          </p:cNvPicPr>
          <p:nvPr userDrawn="1"/>
        </p:nvPicPr>
        <p:blipFill rotWithShape="1">
          <a:blip r:embed="rId2">
            <a:extLst>
              <a:ext uri="{28A0092B-C50C-407E-A947-70E740481C1C}">
                <a14:useLocalDpi xmlns:a14="http://schemas.microsoft.com/office/drawing/2010/main" val="0"/>
              </a:ext>
            </a:extLst>
          </a:blip>
          <a:srcRect l="4658" t="3243" r="26982"/>
          <a:stretch/>
        </p:blipFill>
        <p:spPr>
          <a:xfrm flipH="1">
            <a:off x="0" y="0"/>
            <a:ext cx="8067404" cy="6858000"/>
          </a:xfrm>
          <a:prstGeom prst="rect">
            <a:avLst/>
          </a:prstGeom>
        </p:spPr>
      </p:pic>
      <p:sp>
        <p:nvSpPr>
          <p:cNvPr id="18" name="Title 1"/>
          <p:cNvSpPr>
            <a:spLocks noGrp="1"/>
          </p:cNvSpPr>
          <p:nvPr>
            <p:ph type="title"/>
          </p:nvPr>
        </p:nvSpPr>
        <p:spPr>
          <a:xfrm>
            <a:off x="7601520" y="4826000"/>
            <a:ext cx="4077539" cy="895962"/>
          </a:xfrm>
          <a:prstGeom prst="rect">
            <a:avLst/>
          </a:prstGeom>
        </p:spPr>
        <p:txBody>
          <a:bodyPr lIns="0" tIns="0" rIns="0" bIns="0"/>
          <a:lstStyle>
            <a:lvl1pPr algn="l">
              <a:defRPr sz="1600" b="0" cap="none" baseline="0">
                <a:solidFill>
                  <a:schemeClr val="tx1"/>
                </a:solidFill>
                <a:latin typeface="+mn-lt"/>
              </a:defRPr>
            </a:lvl1pPr>
          </a:lstStyle>
          <a:p>
            <a:r>
              <a:rPr lang="en-GB"/>
              <a:t>Click to edit Master title style</a:t>
            </a:r>
            <a:endParaRPr lang="en-GB" dirty="0"/>
          </a:p>
        </p:txBody>
      </p:sp>
      <p:sp>
        <p:nvSpPr>
          <p:cNvPr id="25" name="Text Placeholder 2"/>
          <p:cNvSpPr>
            <a:spLocks noGrp="1"/>
          </p:cNvSpPr>
          <p:nvPr>
            <p:ph type="body" idx="1"/>
          </p:nvPr>
        </p:nvSpPr>
        <p:spPr>
          <a:xfrm>
            <a:off x="7601520" y="3258524"/>
            <a:ext cx="4077539" cy="1508861"/>
          </a:xfrm>
          <a:prstGeom prst="rect">
            <a:avLst/>
          </a:prstGeom>
        </p:spPr>
        <p:txBody>
          <a:bodyPr lIns="0" tIns="0" rIns="0" bIns="0" anchor="t" anchorCtr="0"/>
          <a:lstStyle>
            <a:lvl1pPr marL="0" indent="0">
              <a:lnSpc>
                <a:spcPct val="100000"/>
              </a:lnSpc>
              <a:spcAft>
                <a:spcPts val="0"/>
              </a:spcAft>
              <a:buNone/>
              <a:defRPr sz="32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a:t>Click to edit Master text styles</a:t>
            </a:r>
            <a:endParaRPr lang="en-GB" dirty="0"/>
          </a:p>
        </p:txBody>
      </p:sp>
      <p:sp>
        <p:nvSpPr>
          <p:cNvPr id="34" name="Text Placeholder 13"/>
          <p:cNvSpPr>
            <a:spLocks noGrp="1"/>
          </p:cNvSpPr>
          <p:nvPr>
            <p:ph type="body" sz="quarter" idx="13" hasCustomPrompt="1"/>
          </p:nvPr>
        </p:nvSpPr>
        <p:spPr bwMode="gray">
          <a:xfrm>
            <a:off x="7619994" y="1908483"/>
            <a:ext cx="2724653" cy="1123888"/>
          </a:xfrm>
          <a:prstGeom prst="rect">
            <a:avLst/>
          </a:prstGeom>
        </p:spPr>
        <p:txBody>
          <a:bodyPr lIns="0" tIns="0" rIns="0" bIns="0"/>
          <a:lstStyle>
            <a:lvl1pPr marL="0" algn="l" defTabSz="1219170" rtl="0" eaLnBrk="1" latinLnBrk="0" hangingPunct="1">
              <a:lnSpc>
                <a:spcPct val="100000"/>
              </a:lnSpc>
              <a:buClr>
                <a:srgbClr val="DD1D21"/>
              </a:buClr>
              <a:buSzPct val="85000"/>
              <a:buNone/>
              <a:tabLst>
                <a:tab pos="1081088" algn="l"/>
              </a:tabLst>
              <a:defRPr lang="en-GB" sz="7300" kern="10000" spc="-600" baseline="0" dirty="0">
                <a:ln w="3175">
                  <a:noFill/>
                </a:ln>
                <a:solidFill>
                  <a:schemeClr val="accent2"/>
                </a:solidFill>
                <a:latin typeface="ShellHeavy" panose="00000700000000000000" pitchFamily="2" charset="0"/>
                <a:ea typeface="ShellHeavy" panose="00000700000000000000" pitchFamily="2" charset="0"/>
                <a:cs typeface="ShellHeavy" panose="00000700000000000000" pitchFamily="2" charset="0"/>
              </a:defRPr>
            </a:lvl1pPr>
          </a:lstStyle>
          <a:p>
            <a:pPr lvl="0"/>
            <a:r>
              <a:rPr lang="en-GB" dirty="0"/>
              <a:t>0.1</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SPDC</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11E0A9A8-61FB-DB76-E9AD-E88C3ABB0D09}"/>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sp>
        <p:nvSpPr>
          <p:cNvPr id="16" name="Rectangle 15"/>
          <p:cNvSpPr/>
          <p:nvPr userDrawn="1"/>
        </p:nvSpPr>
        <p:spPr bwMode="gray">
          <a:xfrm>
            <a:off x="-4046" y="483102"/>
            <a:ext cx="1394397" cy="184552"/>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3" name="Picture Placeholder 2"/>
          <p:cNvSpPr>
            <a:spLocks noGrp="1"/>
          </p:cNvSpPr>
          <p:nvPr>
            <p:ph type="pic" sz="quarter" idx="12"/>
          </p:nvPr>
        </p:nvSpPr>
        <p:spPr bwMode="auto">
          <a:xfrm>
            <a:off x="5578475" y="0"/>
            <a:ext cx="6616248" cy="6857999"/>
          </a:xfrm>
          <a:prstGeom prst="rect">
            <a:avLst/>
          </a:prstGeom>
          <a:noFill/>
          <a:ln w="9525" algn="ctr">
            <a:noFill/>
            <a:miter lim="800000"/>
            <a:headEnd/>
            <a:tailEnd/>
          </a:ln>
        </p:spPr>
        <p:txBody>
          <a:bodyPr/>
          <a:lstStyle>
            <a:lvl1pPr>
              <a:defRPr sz="2133"/>
            </a:lvl1pPr>
          </a:lstStyle>
          <a:p>
            <a:r>
              <a:rPr lang="en-GB"/>
              <a:t>Click icon to add picture</a:t>
            </a:r>
            <a:endParaRPr lang="en-GB" dirty="0"/>
          </a:p>
        </p:txBody>
      </p:sp>
      <p:sp>
        <p:nvSpPr>
          <p:cNvPr id="17" name="Rectangle 2"/>
          <p:cNvSpPr>
            <a:spLocks noGrp="1" noChangeArrowheads="1"/>
          </p:cNvSpPr>
          <p:nvPr>
            <p:ph type="ctrTitle"/>
          </p:nvPr>
        </p:nvSpPr>
        <p:spPr>
          <a:xfrm>
            <a:off x="765175" y="3258523"/>
            <a:ext cx="4066542" cy="1508861"/>
          </a:xfrm>
          <a:noFill/>
        </p:spPr>
        <p:txBody>
          <a:bodyPr lIns="0" tIns="0" rIns="0"/>
          <a:lstStyle>
            <a:lvl1pPr>
              <a:defRPr sz="3200" kern="1200" cap="none" spc="0" baseline="0">
                <a:solidFill>
                  <a:schemeClr val="tx1"/>
                </a:solidFill>
                <a:latin typeface="+mj-lt"/>
                <a:cs typeface="Arial" pitchFamily="34" charset="0"/>
              </a:defRPr>
            </a:lvl1pPr>
          </a:lstStyle>
          <a:p>
            <a:r>
              <a:rPr lang="en-GB"/>
              <a:t>Click to edit Master title style</a:t>
            </a:r>
            <a:endParaRPr lang="en-GB" dirty="0"/>
          </a:p>
        </p:txBody>
      </p:sp>
      <p:sp>
        <p:nvSpPr>
          <p:cNvPr id="19" name="Rectangle 3"/>
          <p:cNvSpPr>
            <a:spLocks noGrp="1" noChangeArrowheads="1"/>
          </p:cNvSpPr>
          <p:nvPr>
            <p:ph type="subTitle" idx="1"/>
          </p:nvPr>
        </p:nvSpPr>
        <p:spPr>
          <a:xfrm>
            <a:off x="772990" y="4826586"/>
            <a:ext cx="4066542" cy="895376"/>
          </a:xfrm>
        </p:spPr>
        <p:txBody>
          <a:bodyPr/>
          <a:lstStyle>
            <a:lvl1pPr marL="0" indent="0">
              <a:lnSpc>
                <a:spcPct val="90000"/>
              </a:lnSpc>
              <a:spcBef>
                <a:spcPct val="0"/>
              </a:spcBef>
              <a:spcAft>
                <a:spcPts val="0"/>
              </a:spcAft>
              <a:buFont typeface="Wingdings" pitchFamily="2" charset="2"/>
              <a:buNone/>
              <a:defRPr lang="en-GB" sz="1600" kern="1200" baseline="0" dirty="0">
                <a:solidFill>
                  <a:schemeClr val="tx1"/>
                </a:solidFill>
                <a:latin typeface="+mn-lt"/>
                <a:ea typeface="+mn-ea"/>
                <a:cs typeface="+mn-cs"/>
              </a:defRPr>
            </a:lvl1pPr>
          </a:lstStyle>
          <a:p>
            <a:r>
              <a:rPr lang="en-GB"/>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2" name="TextBox 1" descr="CONFIDENTIAL_TAG_0xFFEE">
            <a:extLst>
              <a:ext uri="{FF2B5EF4-FFF2-40B4-BE49-F238E27FC236}">
                <a16:creationId xmlns:a16="http://schemas.microsoft.com/office/drawing/2014/main" id="{6094C71F-5486-8ABD-78CC-C82A69E129F8}"/>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291707099"/>
      </p:ext>
    </p:extLst>
  </p:cSld>
  <p:clrMapOvr>
    <a:masterClrMapping/>
  </p:clrMapOvr>
  <p:transition/>
  <p:hf hdr="0"/>
  <p:extLst>
    <p:ext uri="{DCECCB84-F9BA-43D5-87BE-67443E8EF086}">
      <p15:sldGuideLst xmlns:p15="http://schemas.microsoft.com/office/powerpoint/2012/main">
        <p15:guide id="1" orient="horz" pos="2160" userDrawn="1">
          <p15:clr>
            <a:srgbClr val="FBAE40"/>
          </p15:clr>
        </p15:guide>
        <p15:guide id="2" orient="horz" pos="2260" userDrawn="1">
          <p15:clr>
            <a:srgbClr val="FBAE40"/>
          </p15:clr>
        </p15:guide>
        <p15:guide id="3" orient="horz" pos="23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GB"/>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2" name="TextBox 1" descr="CONFIDENTIAL_TAG_0xFFEE">
            <a:extLst>
              <a:ext uri="{FF2B5EF4-FFF2-40B4-BE49-F238E27FC236}">
                <a16:creationId xmlns:a16="http://schemas.microsoft.com/office/drawing/2014/main" id="{9A2A9557-65F3-E2F6-9272-14BDCCA89AAA}"/>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descr="&lt;ignore&gt;"/>
          <p:cNvSpPr>
            <a:spLocks noGrp="1"/>
          </p:cNvSpPr>
          <p:nvPr>
            <p:ph type="pic" sz="quarter" idx="12"/>
          </p:nvPr>
        </p:nvSpPr>
        <p:spPr bwMode="auto">
          <a:xfrm>
            <a:off x="0" y="0"/>
            <a:ext cx="12194382" cy="6858000"/>
          </a:xfrm>
          <a:prstGeom prst="rect">
            <a:avLst/>
          </a:prstGeom>
          <a:noFill/>
          <a:ln w="3175" algn="ctr">
            <a:noFill/>
            <a:miter lim="800000"/>
            <a:headEnd/>
            <a:tailEnd/>
          </a:ln>
        </p:spPr>
        <p:txBody>
          <a:bodyPr/>
          <a:lstStyle>
            <a:lvl1pPr>
              <a:defRPr sz="2133"/>
            </a:lvl1pPr>
          </a:lstStyle>
          <a:p>
            <a:r>
              <a:rPr lang="en-GB"/>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3" name="Text Placeholder 2" descr="&lt;IGNORE&gt;" title="&lt;IGNORE&gt;"/>
          <p:cNvSpPr>
            <a:spLocks noGrp="1"/>
          </p:cNvSpPr>
          <p:nvPr>
            <p:ph type="body" sz="quarter" idx="13"/>
          </p:nvPr>
        </p:nvSpPr>
        <p:spPr>
          <a:xfrm>
            <a:off x="513179" y="1681888"/>
            <a:ext cx="11166561" cy="2861742"/>
          </a:xfrm>
        </p:spPr>
        <p:txBody>
          <a:bodyPr/>
          <a:lstStyle>
            <a:lvl1pPr>
              <a:lnSpc>
                <a:spcPct val="110000"/>
              </a:lnSpc>
              <a:defRPr lang="en-US" sz="3600" b="0" kern="1200" dirty="0" smtClean="0">
                <a:solidFill>
                  <a:schemeClr val="tx1"/>
                </a:solidFill>
                <a:latin typeface="+mj-lt"/>
                <a:ea typeface="+mn-ea"/>
                <a:cs typeface="+mn-cs"/>
              </a:defRPr>
            </a:lvl1pPr>
          </a:lstStyle>
          <a:p>
            <a:pPr lvl="0"/>
            <a:r>
              <a:rPr lang="en-GB"/>
              <a:t>Click to edit Master text styles</a:t>
            </a:r>
            <a:endParaRPr lang="en-GB" dirty="0"/>
          </a:p>
        </p:txBody>
      </p:sp>
      <p:sp>
        <p:nvSpPr>
          <p:cNvPr id="2" name="TextBox 1" descr="CONFIDENTIAL_TAG_0xFFEE">
            <a:extLst>
              <a:ext uri="{FF2B5EF4-FFF2-40B4-BE49-F238E27FC236}">
                <a16:creationId xmlns:a16="http://schemas.microsoft.com/office/drawing/2014/main" id="{1365B22E-CD59-6310-3D8E-8520D22CD778}"/>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313662350"/>
      </p:ext>
    </p:extLst>
  </p:cSld>
  <p:clrMapOvr>
    <a:masterClrMapping/>
  </p:clrMapOvr>
  <p:transition/>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4235" t="4524"/>
          <a:stretch/>
        </p:blipFill>
        <p:spPr>
          <a:xfrm>
            <a:off x="0" y="0"/>
            <a:ext cx="12192000" cy="6858000"/>
          </a:xfrm>
          <a:prstGeom prst="rect">
            <a:avLst/>
          </a:prstGeom>
        </p:spPr>
      </p:pic>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t="21234" r="47297" b="27130"/>
          <a:stretch/>
        </p:blipFill>
        <p:spPr>
          <a:xfrm>
            <a:off x="5207633" y="0"/>
            <a:ext cx="6999607" cy="6858000"/>
          </a:xfrm>
          <a:prstGeom prst="rect">
            <a:avLst/>
          </a:prstGeom>
        </p:spPr>
      </p:pic>
      <p:sp>
        <p:nvSpPr>
          <p:cNvPr id="24" name="Title 1"/>
          <p:cNvSpPr>
            <a:spLocks noGrp="1"/>
          </p:cNvSpPr>
          <p:nvPr>
            <p:ph type="title" hasCustomPrompt="1"/>
          </p:nvPr>
        </p:nvSpPr>
        <p:spPr>
          <a:xfrm>
            <a:off x="766800" y="2344620"/>
            <a:ext cx="5187472" cy="1362075"/>
          </a:xfrm>
          <a:prstGeom prst="rect">
            <a:avLst/>
          </a:prstGeom>
        </p:spPr>
        <p:txBody>
          <a:bodyPr lIns="0" tIns="0" rIns="0" bIns="0"/>
          <a:lstStyle>
            <a:lvl1pPr algn="l">
              <a:defRPr sz="1400" b="0" cap="none" baseline="0">
                <a:solidFill>
                  <a:schemeClr val="tx1"/>
                </a:solidFill>
                <a:latin typeface="ShellMedium" panose="00000600000000000000" pitchFamily="2" charset="0"/>
              </a:defRPr>
            </a:lvl1pPr>
          </a:lstStyle>
          <a:p>
            <a:r>
              <a:rPr lang="en-GB" dirty="0"/>
              <a:t>Click to edit Master title style, if required</a:t>
            </a:r>
          </a:p>
        </p:txBody>
      </p:sp>
      <p:sp>
        <p:nvSpPr>
          <p:cNvPr id="25" name="Text Placeholder 2"/>
          <p:cNvSpPr>
            <a:spLocks noGrp="1"/>
          </p:cNvSpPr>
          <p:nvPr>
            <p:ph type="body" idx="1" hasCustomPrompt="1"/>
          </p:nvPr>
        </p:nvSpPr>
        <p:spPr>
          <a:xfrm>
            <a:off x="766800" y="723550"/>
            <a:ext cx="6375761" cy="1400214"/>
          </a:xfrm>
          <a:prstGeom prst="rect">
            <a:avLst/>
          </a:prstGeom>
        </p:spPr>
        <p:txBody>
          <a:bodyPr lIns="0" tIns="0" rIns="0" bIns="0" anchor="t" anchorCtr="0"/>
          <a:lstStyle>
            <a:lvl1pPr marL="0" indent="0">
              <a:lnSpc>
                <a:spcPct val="100000"/>
              </a:lnSpc>
              <a:spcAft>
                <a:spcPts val="0"/>
              </a:spcAft>
              <a:buNone/>
              <a:defRPr sz="9600" b="0" cap="none" baseline="0">
                <a:solidFill>
                  <a:srgbClr val="FFC600"/>
                </a:solidFill>
                <a:latin typeface="ShellHeavy" panose="00000700000000000000" pitchFamily="2"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dirty="0"/>
              <a:t>Q&amp;A</a:t>
            </a:r>
          </a:p>
        </p:txBody>
      </p:sp>
      <p:sp>
        <p:nvSpPr>
          <p:cNvPr id="26" name="Rectangle 4" descr="Rectangle 4"/>
          <p:cNvSpPr>
            <a:spLocks noGrp="1" noChangeArrowheads="1"/>
          </p:cNvSpPr>
          <p:nvPr>
            <p:ph type="dt" sz="half" idx="2"/>
          </p:nvPr>
        </p:nvSpPr>
        <p:spPr bwMode="gray">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bg1"/>
                </a:solidFill>
                <a:latin typeface="+mn-lt"/>
                <a:ea typeface="+mn-ea"/>
                <a:cs typeface="Arial" pitchFamily="34" charset="0"/>
              </a:defRPr>
            </a:lvl1pPr>
          </a:lstStyle>
          <a:p>
            <a:pPr>
              <a:defRPr/>
            </a:pPr>
            <a:r>
              <a:rPr lang="en-GB" noProof="1"/>
              <a:t>January 2024</a:t>
            </a:r>
          </a:p>
        </p:txBody>
      </p:sp>
      <p:sp>
        <p:nvSpPr>
          <p:cNvPr id="27" name="Text Box 11" descr="&lt;COMPANY_NAME&gt;"/>
          <p:cNvSpPr txBox="1">
            <a:spLocks noChangeArrowheads="1"/>
          </p:cNvSpPr>
          <p:nvPr userDrawn="1"/>
        </p:nvSpPr>
        <p:spPr bwMode="gray">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bg1"/>
                </a:solidFill>
                <a:latin typeface="+mn-lt"/>
                <a:cs typeface="Arial" pitchFamily="34" charset="0"/>
              </a:rPr>
              <a:t>SPDC</a:t>
            </a:r>
          </a:p>
        </p:txBody>
      </p:sp>
      <p:sp>
        <p:nvSpPr>
          <p:cNvPr id="28" name="Rectangle 6" descr="Rectangle 6"/>
          <p:cNvSpPr>
            <a:spLocks noGrp="1" noChangeArrowheads="1"/>
          </p:cNvSpPr>
          <p:nvPr>
            <p:ph type="sldNum" sz="quarter" idx="4"/>
          </p:nvPr>
        </p:nvSpPr>
        <p:spPr bwMode="gray">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bg1"/>
                </a:solidFill>
                <a:latin typeface="+mn-lt"/>
                <a:cs typeface="Arial" pitchFamily="34" charset="0"/>
              </a:defRPr>
            </a:lvl1pPr>
          </a:lstStyle>
          <a:p>
            <a:fld id="{D32BAE6A-B452-4007-8177-56DD051636F9}" type="slidenum">
              <a:rPr lang="en-GB" noProof="1" smtClean="0"/>
              <a:pPr/>
              <a:t>‹#›</a:t>
            </a:fld>
            <a:endParaRPr lang="en-GB" noProof="1"/>
          </a:p>
        </p:txBody>
      </p:sp>
      <p:sp>
        <p:nvSpPr>
          <p:cNvPr id="29" name="Rectangle 5"/>
          <p:cNvSpPr>
            <a:spLocks noGrp="1" noChangeArrowheads="1"/>
          </p:cNvSpPr>
          <p:nvPr>
            <p:ph type="ftr" sz="quarter" idx="3"/>
          </p:nvPr>
        </p:nvSpPr>
        <p:spPr bwMode="gray">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bg1"/>
                </a:solidFill>
                <a:latin typeface="+mn-lt"/>
                <a:cs typeface="Arial" pitchFamily="34" charset="0"/>
              </a:defRPr>
            </a:lvl1pPr>
          </a:lstStyle>
          <a:p>
            <a:pPr>
              <a:defRPr/>
            </a:pPr>
            <a:r>
              <a:rPr lang="en-GB" noProof="1"/>
              <a:t> </a:t>
            </a:r>
          </a:p>
        </p:txBody>
      </p:sp>
      <p:sp>
        <p:nvSpPr>
          <p:cNvPr id="3" name="TextBox 2" descr="CONFIDENTIAL_TAG_0xFFEE">
            <a:extLst>
              <a:ext uri="{FF2B5EF4-FFF2-40B4-BE49-F238E27FC236}">
                <a16:creationId xmlns:a16="http://schemas.microsoft.com/office/drawing/2014/main" id="{3DDBFAFC-D625-C945-E91D-074F3EFC0825}"/>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20" name="Rectangle 2"/>
          <p:cNvSpPr>
            <a:spLocks noGrp="1" noChangeArrowheads="1"/>
          </p:cNvSpPr>
          <p:nvPr>
            <p:ph type="ctrTitle"/>
          </p:nvPr>
        </p:nvSpPr>
        <p:spPr>
          <a:xfrm>
            <a:off x="765175" y="2286000"/>
            <a:ext cx="4143255" cy="1386000"/>
          </a:xfrm>
          <a:noFill/>
        </p:spPr>
        <p:txBody>
          <a:bodyPr lIns="0" tIns="0" rIns="0" anchor="b" anchorCtr="0"/>
          <a:lstStyle>
            <a:lvl1pPr>
              <a:lnSpc>
                <a:spcPct val="110000"/>
              </a:lnSpc>
              <a:defRPr sz="3600" b="0" kern="1200" cap="none" spc="0" baseline="0">
                <a:solidFill>
                  <a:schemeClr val="tx1"/>
                </a:solidFill>
                <a:latin typeface="+mj-lt"/>
                <a:cs typeface="Arial" pitchFamily="34" charset="0"/>
              </a:defRPr>
            </a:lvl1pPr>
          </a:lstStyle>
          <a:p>
            <a:r>
              <a:rPr lang="en-GB"/>
              <a:t>Click to edit Master title style</a:t>
            </a:r>
            <a:endParaRPr lang="en-GB" dirty="0"/>
          </a:p>
        </p:txBody>
      </p:sp>
      <p:sp>
        <p:nvSpPr>
          <p:cNvPr id="21" name="Rectangle 3"/>
          <p:cNvSpPr>
            <a:spLocks noGrp="1" noChangeArrowheads="1"/>
          </p:cNvSpPr>
          <p:nvPr>
            <p:ph type="subTitle" idx="1"/>
          </p:nvPr>
        </p:nvSpPr>
        <p:spPr>
          <a:xfrm>
            <a:off x="765175" y="3805200"/>
            <a:ext cx="4060821" cy="749808"/>
          </a:xfrm>
        </p:spPr>
        <p:txBody>
          <a:bodyPr anchor="t" anchorCtr="0"/>
          <a:lstStyle>
            <a:lvl1pPr marL="0" indent="0">
              <a:lnSpc>
                <a:spcPct val="100000"/>
              </a:lnSpc>
              <a:spcBef>
                <a:spcPct val="0"/>
              </a:spcBef>
              <a:spcAft>
                <a:spcPts val="0"/>
              </a:spcAft>
              <a:buFont typeface="Wingdings" pitchFamily="2" charset="2"/>
              <a:buNone/>
              <a:defRPr sz="2000" baseline="0">
                <a:solidFill>
                  <a:schemeClr val="tx1"/>
                </a:solidFill>
                <a:latin typeface="+mn-lt"/>
                <a:cs typeface="Arial" pitchFamily="34" charset="0"/>
              </a:defRPr>
            </a:lvl1pPr>
          </a:lstStyle>
          <a:p>
            <a:r>
              <a:rPr lang="en-GB"/>
              <a:t>Click to edit Master subtitle style</a:t>
            </a:r>
            <a:endParaRPr lang="en-GB" dirty="0"/>
          </a:p>
        </p:txBody>
      </p:sp>
      <p:sp>
        <p:nvSpPr>
          <p:cNvPr id="22" name="Text Placeholder 31"/>
          <p:cNvSpPr>
            <a:spLocks noGrp="1"/>
          </p:cNvSpPr>
          <p:nvPr>
            <p:ph type="body" sz="quarter" idx="10" hasCustomPrompt="1"/>
          </p:nvPr>
        </p:nvSpPr>
        <p:spPr>
          <a:xfrm>
            <a:off x="765175" y="4831200"/>
            <a:ext cx="4060821"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765175" y="5083200"/>
            <a:ext cx="4060821" cy="489785"/>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SPDC</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3" name="Picture Placeholder 2"/>
          <p:cNvSpPr>
            <a:spLocks noGrp="1"/>
          </p:cNvSpPr>
          <p:nvPr userDrawn="1">
            <p:ph type="pic" sz="quarter" idx="12"/>
          </p:nvPr>
        </p:nvSpPr>
        <p:spPr bwMode="auto">
          <a:xfrm>
            <a:off x="5047384" y="1"/>
            <a:ext cx="7144616" cy="6359524"/>
          </a:xfrm>
          <a:custGeom>
            <a:avLst/>
            <a:gdLst>
              <a:gd name="connsiteX0" fmla="*/ 0 w 7141676"/>
              <a:gd name="connsiteY0" fmla="*/ 0 h 6316132"/>
              <a:gd name="connsiteX1" fmla="*/ 7141676 w 7141676"/>
              <a:gd name="connsiteY1" fmla="*/ 0 h 6316132"/>
              <a:gd name="connsiteX2" fmla="*/ 7141676 w 7141676"/>
              <a:gd name="connsiteY2" fmla="*/ 6316132 h 6316132"/>
              <a:gd name="connsiteX3" fmla="*/ 0 w 7141676"/>
              <a:gd name="connsiteY3" fmla="*/ 6316132 h 6316132"/>
              <a:gd name="connsiteX4" fmla="*/ 0 w 7141676"/>
              <a:gd name="connsiteY4" fmla="*/ 0 h 6316132"/>
              <a:gd name="connsiteX0" fmla="*/ 2940 w 7144616"/>
              <a:gd name="connsiteY0" fmla="*/ 0 h 6316132"/>
              <a:gd name="connsiteX1" fmla="*/ 7144616 w 7144616"/>
              <a:gd name="connsiteY1" fmla="*/ 0 h 6316132"/>
              <a:gd name="connsiteX2" fmla="*/ 7144616 w 7144616"/>
              <a:gd name="connsiteY2" fmla="*/ 6316132 h 6316132"/>
              <a:gd name="connsiteX3" fmla="*/ 2940 w 7144616"/>
              <a:gd name="connsiteY3" fmla="*/ 6316132 h 6316132"/>
              <a:gd name="connsiteX4" fmla="*/ 0 w 7144616"/>
              <a:gd name="connsiteY4" fmla="*/ 5779942 h 6316132"/>
              <a:gd name="connsiteX5" fmla="*/ 2940 w 7144616"/>
              <a:gd name="connsiteY5" fmla="*/ 0 h 6316132"/>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2940 w 7144616"/>
              <a:gd name="connsiteY4" fmla="*/ 6316132 h 6316773"/>
              <a:gd name="connsiteX5" fmla="*/ 0 w 7144616"/>
              <a:gd name="connsiteY5" fmla="*/ 5779942 h 6316773"/>
              <a:gd name="connsiteX6" fmla="*/ 2940 w 7144616"/>
              <a:gd name="connsiteY6"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7008"/>
              <a:gd name="connsiteX1" fmla="*/ 7144616 w 7144616"/>
              <a:gd name="connsiteY1" fmla="*/ 0 h 6317008"/>
              <a:gd name="connsiteX2" fmla="*/ 7144616 w 7144616"/>
              <a:gd name="connsiteY2" fmla="*/ 6316132 h 6317008"/>
              <a:gd name="connsiteX3" fmla="*/ 537870 w 7144616"/>
              <a:gd name="connsiteY3" fmla="*/ 6316773 h 6317008"/>
              <a:gd name="connsiteX4" fmla="*/ 0 w 7144616"/>
              <a:gd name="connsiteY4" fmla="*/ 5779942 h 6317008"/>
              <a:gd name="connsiteX5" fmla="*/ 2940 w 7144616"/>
              <a:gd name="connsiteY5" fmla="*/ 0 h 6317008"/>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 name="connsiteX0" fmla="*/ 2940 w 7144616"/>
              <a:gd name="connsiteY0" fmla="*/ 0 h 6316773"/>
              <a:gd name="connsiteX1" fmla="*/ 7144616 w 7144616"/>
              <a:gd name="connsiteY1" fmla="*/ 0 h 6316773"/>
              <a:gd name="connsiteX2" fmla="*/ 7144616 w 7144616"/>
              <a:gd name="connsiteY2" fmla="*/ 6316132 h 6316773"/>
              <a:gd name="connsiteX3" fmla="*/ 537870 w 7144616"/>
              <a:gd name="connsiteY3" fmla="*/ 6316773 h 6316773"/>
              <a:gd name="connsiteX4" fmla="*/ 0 w 7144616"/>
              <a:gd name="connsiteY4" fmla="*/ 5779942 h 6316773"/>
              <a:gd name="connsiteX5" fmla="*/ 2940 w 7144616"/>
              <a:gd name="connsiteY5" fmla="*/ 0 h 631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4616" h="6316773">
                <a:moveTo>
                  <a:pt x="2940" y="0"/>
                </a:moveTo>
                <a:lnTo>
                  <a:pt x="7144616" y="0"/>
                </a:lnTo>
                <a:lnTo>
                  <a:pt x="7144616" y="6316132"/>
                </a:lnTo>
                <a:lnTo>
                  <a:pt x="537870" y="6316773"/>
                </a:lnTo>
                <a:cubicBezTo>
                  <a:pt x="214457" y="6313295"/>
                  <a:pt x="5024" y="6140981"/>
                  <a:pt x="0" y="5779942"/>
                </a:cubicBezTo>
                <a:lnTo>
                  <a:pt x="2940" y="0"/>
                </a:lnTo>
                <a:close/>
              </a:path>
            </a:pathLst>
          </a:custGeom>
          <a:noFill/>
          <a:ln w="9525" algn="ctr">
            <a:noFill/>
            <a:miter lim="800000"/>
            <a:headEnd/>
            <a:tailEnd/>
          </a:ln>
        </p:spPr>
        <p:txBody>
          <a:bodyPr/>
          <a:lstStyle>
            <a:lvl1pPr>
              <a:defRPr sz="2133"/>
            </a:lvl1pPr>
          </a:lstStyle>
          <a:p>
            <a:r>
              <a:rPr lang="en-GB"/>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2" name="TextBox 1" descr="CONFIDENTIAL_TAG_0xFFEE">
            <a:extLst>
              <a:ext uri="{FF2B5EF4-FFF2-40B4-BE49-F238E27FC236}">
                <a16:creationId xmlns:a16="http://schemas.microsoft.com/office/drawing/2014/main" id="{CBD2FF62-6F4A-C212-6E73-B1852CB11FA5}"/>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370520605"/>
      </p:ext>
    </p:extLst>
  </p:cSld>
  <p:clrMapOvr>
    <a:masterClrMapping/>
  </p:clrMapOvr>
  <p:transition/>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amp;A - Opttion 2">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t="21234" r="47297" b="27130"/>
          <a:stretch/>
        </p:blipFill>
        <p:spPr>
          <a:xfrm>
            <a:off x="5207633" y="0"/>
            <a:ext cx="6999607" cy="6858000"/>
          </a:xfrm>
          <a:prstGeom prst="rect">
            <a:avLst/>
          </a:prstGeom>
        </p:spPr>
      </p:pic>
      <p:sp>
        <p:nvSpPr>
          <p:cNvPr id="24" name="Title 1"/>
          <p:cNvSpPr>
            <a:spLocks noGrp="1"/>
          </p:cNvSpPr>
          <p:nvPr>
            <p:ph type="title" hasCustomPrompt="1"/>
          </p:nvPr>
        </p:nvSpPr>
        <p:spPr>
          <a:xfrm>
            <a:off x="766800" y="4169538"/>
            <a:ext cx="5187472" cy="1362075"/>
          </a:xfrm>
          <a:prstGeom prst="rect">
            <a:avLst/>
          </a:prstGeom>
        </p:spPr>
        <p:txBody>
          <a:bodyPr lIns="0" tIns="0" rIns="0" bIns="0"/>
          <a:lstStyle>
            <a:lvl1pPr algn="l">
              <a:defRPr sz="1400" b="0" cap="none" baseline="0">
                <a:solidFill>
                  <a:schemeClr val="tx1"/>
                </a:solidFill>
                <a:latin typeface="ShellMedium" panose="00000600000000000000" pitchFamily="2" charset="0"/>
              </a:defRPr>
            </a:lvl1pPr>
          </a:lstStyle>
          <a:p>
            <a:r>
              <a:rPr lang="en-GB" dirty="0"/>
              <a:t>Click to edit Master title style, if required</a:t>
            </a:r>
          </a:p>
        </p:txBody>
      </p:sp>
      <p:sp>
        <p:nvSpPr>
          <p:cNvPr id="25" name="Text Placeholder 2"/>
          <p:cNvSpPr>
            <a:spLocks noGrp="1"/>
          </p:cNvSpPr>
          <p:nvPr>
            <p:ph type="body" idx="1" hasCustomPrompt="1"/>
          </p:nvPr>
        </p:nvSpPr>
        <p:spPr>
          <a:xfrm>
            <a:off x="766800" y="2548468"/>
            <a:ext cx="6375761" cy="1400214"/>
          </a:xfrm>
          <a:prstGeom prst="rect">
            <a:avLst/>
          </a:prstGeom>
        </p:spPr>
        <p:txBody>
          <a:bodyPr lIns="0" tIns="0" rIns="0" bIns="0" anchor="t" anchorCtr="0"/>
          <a:lstStyle>
            <a:lvl1pPr marL="0" indent="0">
              <a:lnSpc>
                <a:spcPct val="100000"/>
              </a:lnSpc>
              <a:spcAft>
                <a:spcPts val="0"/>
              </a:spcAft>
              <a:buNone/>
              <a:defRPr sz="9600" b="0" cap="none" baseline="0">
                <a:solidFill>
                  <a:schemeClr val="accent2"/>
                </a:solidFill>
                <a:latin typeface="ShellHeavy" panose="00000700000000000000" pitchFamily="2"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dirty="0"/>
              <a:t>Q&amp;A</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E43E93E2-DA1D-C376-A7A6-1C7115FC241F}"/>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789108116"/>
      </p:ext>
    </p:extLst>
  </p:cSld>
  <p:clrMapOvr>
    <a:masterClrMapping/>
  </p:clrMapOvr>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SPDC</a:t>
            </a:r>
          </a:p>
        </p:txBody>
      </p:sp>
      <p:sp>
        <p:nvSpPr>
          <p:cNvPr id="2" name="TextBox 1" descr="CONFIDENTIAL_TAG_0xFFEE">
            <a:extLst>
              <a:ext uri="{FF2B5EF4-FFF2-40B4-BE49-F238E27FC236}">
                <a16:creationId xmlns:a16="http://schemas.microsoft.com/office/drawing/2014/main" id="{AB7234B7-C9A9-09ED-799F-03C03FFB84D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A210578B-6748-D13F-2DB9-5CED7C14B3E0}"/>
              </a:ext>
            </a:extLst>
          </p:cNvPr>
          <p:cNvPicPr>
            <a:picLocks noChangeAspect="1"/>
          </p:cNvPicPr>
          <p:nvPr userDrawn="1"/>
        </p:nvPicPr>
        <p:blipFill rotWithShape="1">
          <a:blip r:embed="rId2">
            <a:alphaModFix/>
          </a:blip>
          <a:srcRect l="21052" t="21948" r="21837" b="21613"/>
          <a:stretch/>
        </p:blipFill>
        <p:spPr>
          <a:xfrm>
            <a:off x="4900055" y="2247127"/>
            <a:ext cx="2391891" cy="2363746"/>
          </a:xfrm>
          <a:prstGeom prst="rect">
            <a:avLst/>
          </a:prstGeom>
          <a:noFill/>
        </p:spPr>
      </p:pic>
    </p:spTree>
  </p:cSld>
  <p:clrMapOvr>
    <a:masterClrMapping/>
  </p:clrMapOvr>
  <p:transition/>
  <p:hf hdr="0"/>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0" name="Rectangle 19"/>
          <p:cNvSpPr/>
          <p:nvPr userDrawn="1"/>
        </p:nvSpPr>
        <p:spPr bwMode="gray">
          <a:xfrm>
            <a:off x="1"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bg1"/>
              </a:solidFill>
            </a:endParaRPr>
          </a:p>
        </p:txBody>
      </p:sp>
      <p:sp>
        <p:nvSpPr>
          <p:cNvPr id="21" name="Rectangle 20"/>
          <p:cNvSpPr/>
          <p:nvPr userDrawn="1"/>
        </p:nvSpPr>
        <p:spPr bwMode="gray">
          <a:xfrm>
            <a:off x="2370681" y="761998"/>
            <a:ext cx="1693312"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tx1"/>
              </a:solidFill>
            </a:endParaRPr>
          </a:p>
        </p:txBody>
      </p:sp>
      <p:pic>
        <p:nvPicPr>
          <p:cNvPr id="22" name="Picture 21"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333" y="645968"/>
            <a:ext cx="2032000" cy="1524000"/>
          </a:xfrm>
          <a:prstGeom prst="rect">
            <a:avLst/>
          </a:prstGeom>
        </p:spPr>
      </p:pic>
      <p:sp>
        <p:nvSpPr>
          <p:cNvPr id="28" name="Rectangle 2"/>
          <p:cNvSpPr>
            <a:spLocks noGrp="1" noChangeArrowheads="1"/>
          </p:cNvSpPr>
          <p:nvPr userDrawn="1">
            <p:ph type="ctrTitle"/>
          </p:nvPr>
        </p:nvSpPr>
        <p:spPr>
          <a:xfrm>
            <a:off x="2371199" y="961200"/>
            <a:ext cx="9147700" cy="1584000"/>
          </a:xfrm>
          <a:noFill/>
        </p:spPr>
        <p:txBody>
          <a:bodyPr lIns="0" tIns="0" rIns="0"/>
          <a:lstStyle>
            <a:lvl1pPr algn="l" defTabSz="1219170" rtl="0" eaLnBrk="1" latinLnBrk="0" hangingPunct="1">
              <a:lnSpc>
                <a:spcPct val="110000"/>
              </a:lnSpc>
              <a:spcBef>
                <a:spcPct val="0"/>
              </a:spcBef>
              <a:buNone/>
              <a:defRPr lang="en-GB" sz="2800" b="0" kern="1200" cap="none" spc="0" baseline="0" dirty="0">
                <a:solidFill>
                  <a:schemeClr val="tx1"/>
                </a:solidFill>
                <a:latin typeface="+mj-lt"/>
                <a:ea typeface="+mj-ea"/>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2371199" y="3317925"/>
            <a:ext cx="9147700" cy="748800"/>
          </a:xfrm>
        </p:spPr>
        <p:txBody>
          <a:bodyPr anchor="b" anchorCtr="0"/>
          <a:lstStyle>
            <a:lvl1pPr marL="0" indent="0" algn="l" defTabSz="357708" rtl="0" eaLnBrk="1" latinLnBrk="0" hangingPunct="1">
              <a:lnSpc>
                <a:spcPct val="100000"/>
              </a:lnSpc>
              <a:spcBef>
                <a:spcPct val="0"/>
              </a:spcBef>
              <a:spcAft>
                <a:spcPts val="0"/>
              </a:spcAft>
              <a:buClr>
                <a:schemeClr val="accent2"/>
              </a:buClr>
              <a:buSzPct val="85000"/>
              <a:buFont typeface="Wingdings" pitchFamily="2" charset="2"/>
              <a:buNone/>
              <a:defRPr lang="en-GB" sz="1800" kern="1200" baseline="0" dirty="0">
                <a:solidFill>
                  <a:schemeClr val="tx1"/>
                </a:solidFill>
                <a:latin typeface="+mn-lt"/>
                <a:ea typeface="+mn-ea"/>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2371200" y="4585016"/>
            <a:ext cx="7810528" cy="237600"/>
          </a:xfrm>
        </p:spPr>
        <p:txBody>
          <a:bodyPr anchor="t" anchorCtr="0"/>
          <a:lstStyle>
            <a:lvl1pPr>
              <a:buNone/>
              <a:defRPr lang="en-GB" sz="1400" kern="1200" baseline="0" dirty="0">
                <a:solidFill>
                  <a:schemeClr val="tx1"/>
                </a:solidFill>
                <a:latin typeface="+mj-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Author’s Name</a:t>
            </a:r>
          </a:p>
        </p:txBody>
      </p:sp>
      <p:sp>
        <p:nvSpPr>
          <p:cNvPr id="33" name="Text Placeholder 31"/>
          <p:cNvSpPr>
            <a:spLocks noGrp="1"/>
          </p:cNvSpPr>
          <p:nvPr userDrawn="1">
            <p:ph type="body" sz="quarter" idx="11" hasCustomPrompt="1"/>
          </p:nvPr>
        </p:nvSpPr>
        <p:spPr>
          <a:xfrm>
            <a:off x="2371200" y="4838620"/>
            <a:ext cx="7810528" cy="237600"/>
          </a:xfrm>
        </p:spPr>
        <p:txBody>
          <a:bodyPr anchor="t" anchorCtr="0"/>
          <a:lstStyle>
            <a:lvl1pPr>
              <a:buNone/>
              <a:defRPr lang="en-GB" sz="1400" kern="1200" baseline="0" dirty="0">
                <a:solidFill>
                  <a:schemeClr val="tx1"/>
                </a:solidFill>
                <a:latin typeface="+mn-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Role in Organisation</a:t>
            </a:r>
          </a:p>
        </p:txBody>
      </p:sp>
      <p:sp>
        <p:nvSpPr>
          <p:cNvPr id="102" name="Text Box 11" descr="&lt;COMPANY_NAME&gt;" title="&lt;COMPANY_NAME&gt;"/>
          <p:cNvSpPr txBox="1">
            <a:spLocks noChangeArrowheads="1"/>
          </p:cNvSpPr>
          <p:nvPr userDrawn="1"/>
        </p:nvSpPr>
        <p:spPr bwMode="auto">
          <a:xfrm>
            <a:off x="677186" y="6478119"/>
            <a:ext cx="3047405" cy="237744"/>
          </a:xfrm>
          <a:prstGeom prst="rect">
            <a:avLst/>
          </a:prstGeom>
          <a:noFill/>
          <a:ln w="9525" algn="ctr">
            <a:noFill/>
            <a:miter lim="800000"/>
            <a:headEnd/>
            <a:tailEnd/>
          </a:ln>
          <a:effectLst/>
        </p:spPr>
        <p:txBody>
          <a:bodyPr wrap="none" lIns="0" tIns="0" rIns="0" anchor="t" anchorCtr="0">
            <a:noAutofit/>
          </a:bodyPr>
          <a:lstStyle/>
          <a:p>
            <a:pPr>
              <a:defRPr/>
            </a:pPr>
            <a:r>
              <a:rPr lang="en-US" sz="800" dirty="0">
                <a:solidFill>
                  <a:schemeClr val="tx1"/>
                </a:solidFill>
                <a:latin typeface="+mn-lt"/>
                <a:cs typeface="Arial" pitchFamily="34" charset="0"/>
              </a:rPr>
              <a:t>Copyright of Shell Petroleum and Development Company</a:t>
            </a:r>
            <a:endParaRPr lang="en-GB" sz="800" dirty="0">
              <a:solidFill>
                <a:schemeClr val="tx1"/>
              </a:solidFill>
              <a:latin typeface="+mn-lt"/>
              <a:cs typeface="Arial" pitchFamily="34" charset="0"/>
            </a:endParaRPr>
          </a:p>
        </p:txBody>
      </p:sp>
      <p:sp>
        <p:nvSpPr>
          <p:cNvPr id="103"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4"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05"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18893089"/>
      </p:ext>
    </p:extLst>
  </p:cSld>
  <p:clrMapOvr>
    <a:masterClrMapping/>
  </p:clrMapOvr>
  <p:transition/>
  <p:extLst>
    <p:ext uri="{DCECCB84-F9BA-43D5-87BE-67443E8EF086}">
      <p15:sldGuideLst xmlns:p15="http://schemas.microsoft.com/office/powerpoint/2012/main">
        <p15:guide id="7" pos="111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8" name="Rectangle 17"/>
          <p:cNvSpPr/>
          <p:nvPr userDrawn="1"/>
        </p:nvSpPr>
        <p:spPr bwMode="gray">
          <a:xfrm>
            <a:off x="1"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bg1"/>
              </a:solidFill>
            </a:endParaRPr>
          </a:p>
        </p:txBody>
      </p:sp>
      <p:sp>
        <p:nvSpPr>
          <p:cNvPr id="19" name="Rectangle 18"/>
          <p:cNvSpPr/>
          <p:nvPr userDrawn="1"/>
        </p:nvSpPr>
        <p:spPr bwMode="gray">
          <a:xfrm>
            <a:off x="2370681" y="761998"/>
            <a:ext cx="1693312"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333" y="645968"/>
            <a:ext cx="2032000" cy="1524000"/>
          </a:xfrm>
          <a:prstGeom prst="rect">
            <a:avLst/>
          </a:prstGeom>
        </p:spPr>
      </p:pic>
      <p:sp>
        <p:nvSpPr>
          <p:cNvPr id="28" name="Rectangle 2"/>
          <p:cNvSpPr>
            <a:spLocks noGrp="1" noChangeArrowheads="1"/>
          </p:cNvSpPr>
          <p:nvPr userDrawn="1">
            <p:ph type="ctrTitle"/>
          </p:nvPr>
        </p:nvSpPr>
        <p:spPr>
          <a:xfrm>
            <a:off x="2371200" y="961200"/>
            <a:ext cx="9148800" cy="1584000"/>
          </a:xfrm>
          <a:noFill/>
        </p:spPr>
        <p:txBody>
          <a:bodyPr lIns="0" tIns="0" rIns="0"/>
          <a:lstStyle>
            <a:lvl1pPr algn="l" defTabSz="1219170" rtl="0" eaLnBrk="1" latinLnBrk="0" hangingPunct="1">
              <a:lnSpc>
                <a:spcPct val="110000"/>
              </a:lnSpc>
              <a:spcBef>
                <a:spcPct val="0"/>
              </a:spcBef>
              <a:buNone/>
              <a:defRPr lang="en-GB" sz="2800" b="0" kern="1200" cap="none" spc="0" baseline="0" dirty="0">
                <a:solidFill>
                  <a:schemeClr val="tx1"/>
                </a:solidFill>
                <a:latin typeface="+mj-lt"/>
                <a:ea typeface="+mj-ea"/>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2371200" y="3044536"/>
            <a:ext cx="4389819" cy="1023464"/>
          </a:xfrm>
        </p:spPr>
        <p:txBody>
          <a:bodyPr anchor="b" anchorCtr="0"/>
          <a:lstStyle>
            <a:lvl1pPr marL="0" indent="0" algn="l" defTabSz="357708" rtl="0" eaLnBrk="1" latinLnBrk="0" hangingPunct="1">
              <a:lnSpc>
                <a:spcPct val="100000"/>
              </a:lnSpc>
              <a:spcBef>
                <a:spcPct val="0"/>
              </a:spcBef>
              <a:spcAft>
                <a:spcPts val="0"/>
              </a:spcAft>
              <a:buClr>
                <a:schemeClr val="accent2"/>
              </a:buClr>
              <a:buSzPct val="85000"/>
              <a:buFont typeface="Wingdings" pitchFamily="2" charset="2"/>
              <a:buNone/>
              <a:defRPr lang="en-GB" sz="1800" kern="1200" baseline="0" dirty="0">
                <a:solidFill>
                  <a:schemeClr val="tx1"/>
                </a:solidFill>
                <a:latin typeface="+mn-lt"/>
                <a:ea typeface="+mn-ea"/>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2371201" y="4586400"/>
            <a:ext cx="4407932" cy="237600"/>
          </a:xfrm>
        </p:spPr>
        <p:txBody>
          <a:bodyPr anchor="t" anchorCtr="0"/>
          <a:lstStyle>
            <a:lvl1pPr>
              <a:buNone/>
              <a:defRPr lang="en-GB" sz="1400" kern="1200" baseline="0" dirty="0">
                <a:solidFill>
                  <a:schemeClr val="tx1"/>
                </a:solidFill>
                <a:latin typeface="+mj-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Author’s Name</a:t>
            </a:r>
          </a:p>
        </p:txBody>
      </p:sp>
      <p:sp>
        <p:nvSpPr>
          <p:cNvPr id="33" name="Text Placeholder 31"/>
          <p:cNvSpPr>
            <a:spLocks noGrp="1"/>
          </p:cNvSpPr>
          <p:nvPr userDrawn="1">
            <p:ph type="body" sz="quarter" idx="11" hasCustomPrompt="1"/>
          </p:nvPr>
        </p:nvSpPr>
        <p:spPr>
          <a:xfrm>
            <a:off x="2371201" y="4838400"/>
            <a:ext cx="4407932" cy="237600"/>
          </a:xfrm>
        </p:spPr>
        <p:txBody>
          <a:bodyPr anchor="t" anchorCtr="0"/>
          <a:lstStyle>
            <a:lvl1pPr>
              <a:buNone/>
              <a:defRPr lang="en-GB" sz="1400" kern="1200" baseline="0" dirty="0">
                <a:solidFill>
                  <a:schemeClr val="tx1"/>
                </a:solidFill>
                <a:latin typeface="+mn-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Role in Organisation</a:t>
            </a:r>
          </a:p>
        </p:txBody>
      </p:sp>
      <p:sp>
        <p:nvSpPr>
          <p:cNvPr id="3" name="Picture Placeholder 2"/>
          <p:cNvSpPr>
            <a:spLocks noGrp="1"/>
          </p:cNvSpPr>
          <p:nvPr userDrawn="1">
            <p:ph type="pic" sz="quarter" idx="12"/>
          </p:nvPr>
        </p:nvSpPr>
        <p:spPr>
          <a:xfrm>
            <a:off x="7093527" y="2795155"/>
            <a:ext cx="4425373" cy="2904946"/>
          </a:xfrm>
        </p:spPr>
        <p:txBody>
          <a:bodyPr/>
          <a:lstStyle>
            <a:lvl1pPr>
              <a:defRPr sz="1600"/>
            </a:lvl1pPr>
          </a:lstStyle>
          <a:p>
            <a:r>
              <a:rPr lang="en-US"/>
              <a:t>Click icon to add picture</a:t>
            </a:r>
            <a:endParaRPr lang="en-GB" dirty="0"/>
          </a:p>
        </p:txBody>
      </p:sp>
      <p:sp>
        <p:nvSpPr>
          <p:cNvPr id="104" name="Text Box 11" descr="&lt;COMPANY_NAME&gt;" title="&lt;COMPANY_NAME&gt;"/>
          <p:cNvSpPr txBox="1">
            <a:spLocks noChangeArrowheads="1"/>
          </p:cNvSpPr>
          <p:nvPr userDrawn="1"/>
        </p:nvSpPr>
        <p:spPr bwMode="auto">
          <a:xfrm>
            <a:off x="677186" y="6478119"/>
            <a:ext cx="3047405" cy="237744"/>
          </a:xfrm>
          <a:prstGeom prst="rect">
            <a:avLst/>
          </a:prstGeom>
          <a:noFill/>
          <a:ln w="9525" algn="ctr">
            <a:noFill/>
            <a:miter lim="800000"/>
            <a:headEnd/>
            <a:tailEnd/>
          </a:ln>
          <a:effectLst/>
        </p:spPr>
        <p:txBody>
          <a:bodyPr wrap="none" lIns="0" tIns="0" rIns="0" anchor="t" anchorCtr="0">
            <a:noAutofit/>
          </a:bodyPr>
          <a:lstStyle/>
          <a:p>
            <a:pPr>
              <a:defRPr/>
            </a:pPr>
            <a:r>
              <a:rPr lang="en-US" sz="800" dirty="0">
                <a:solidFill>
                  <a:schemeClr val="tx1"/>
                </a:solidFill>
                <a:latin typeface="+mn-lt"/>
                <a:cs typeface="Arial" pitchFamily="34" charset="0"/>
              </a:rPr>
              <a:t>Copyright of Shell Petroleum and Development Company</a:t>
            </a:r>
            <a:endParaRPr lang="en-GB" sz="800" dirty="0">
              <a:solidFill>
                <a:schemeClr val="tx1"/>
              </a:solidFill>
              <a:latin typeface="+mn-lt"/>
              <a:cs typeface="Arial" pitchFamily="34" charset="0"/>
            </a:endParaRPr>
          </a:p>
        </p:txBody>
      </p:sp>
      <p:sp>
        <p:nvSpPr>
          <p:cNvPr id="105"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6"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07"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424661362"/>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sp>
        <p:nvSpPr>
          <p:cNvPr id="102" name="Rectangle 101"/>
          <p:cNvSpPr/>
          <p:nvPr userDrawn="1"/>
        </p:nvSpPr>
        <p:spPr bwMode="gray">
          <a:xfrm>
            <a:off x="673099" y="3554414"/>
            <a:ext cx="9152468" cy="2797175"/>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p>
        </p:txBody>
      </p:sp>
      <p:sp>
        <p:nvSpPr>
          <p:cNvPr id="31" name="Rectangle 30"/>
          <p:cNvSpPr/>
          <p:nvPr userDrawn="1"/>
        </p:nvSpPr>
        <p:spPr bwMode="gray">
          <a:xfrm>
            <a:off x="2443068" y="3829099"/>
            <a:ext cx="1693312"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tx1"/>
              </a:solidFill>
            </a:endParaRPr>
          </a:p>
        </p:txBody>
      </p:sp>
      <p:pic>
        <p:nvPicPr>
          <p:cNvPr id="34" name="Picture 33"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534554" y="3688500"/>
            <a:ext cx="1953649" cy="1465237"/>
          </a:xfrm>
          <a:prstGeom prst="rect">
            <a:avLst/>
          </a:prstGeom>
        </p:spPr>
      </p:pic>
      <p:sp>
        <p:nvSpPr>
          <p:cNvPr id="35" name="Picture Placeholder 2"/>
          <p:cNvSpPr>
            <a:spLocks noGrp="1"/>
          </p:cNvSpPr>
          <p:nvPr userDrawn="1">
            <p:ph type="pic" sz="quarter" idx="13"/>
          </p:nvPr>
        </p:nvSpPr>
        <p:spPr bwMode="auto">
          <a:xfrm>
            <a:off x="1" y="0"/>
            <a:ext cx="12200897" cy="4830116"/>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 name="connsiteX0" fmla="*/ 241373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41373 w 12194723"/>
              <a:gd name="connsiteY8" fmla="*/ 0 h 4854829"/>
              <a:gd name="connsiteX0" fmla="*/ 2382 w 11955732"/>
              <a:gd name="connsiteY0" fmla="*/ 0 h 4854829"/>
              <a:gd name="connsiteX1" fmla="*/ 11955391 w 11955732"/>
              <a:gd name="connsiteY1" fmla="*/ 0 h 4854829"/>
              <a:gd name="connsiteX2" fmla="*/ 11955391 w 11955732"/>
              <a:gd name="connsiteY2" fmla="*/ 4854636 h 4854829"/>
              <a:gd name="connsiteX3" fmla="*/ 7384257 w 11955732"/>
              <a:gd name="connsiteY3" fmla="*/ 4843680 h 4854829"/>
              <a:gd name="connsiteX4" fmla="*/ 7381442 w 11955732"/>
              <a:gd name="connsiteY4" fmla="*/ 3543300 h 4854829"/>
              <a:gd name="connsiteX5" fmla="*/ 523124 w 11955732"/>
              <a:gd name="connsiteY5" fmla="*/ 3547023 h 4854829"/>
              <a:gd name="connsiteX6" fmla="*/ 523704 w 11955732"/>
              <a:gd name="connsiteY6" fmla="*/ 4850671 h 4854829"/>
              <a:gd name="connsiteX7" fmla="*/ 0 w 11955732"/>
              <a:gd name="connsiteY7" fmla="*/ 4847509 h 4854829"/>
              <a:gd name="connsiteX8" fmla="*/ 2382 w 11955732"/>
              <a:gd name="connsiteY8" fmla="*/ 0 h 4854829"/>
              <a:gd name="connsiteX0" fmla="*/ 2382 w 11960184"/>
              <a:gd name="connsiteY0" fmla="*/ 0 h 4854829"/>
              <a:gd name="connsiteX1" fmla="*/ 11955391 w 11960184"/>
              <a:gd name="connsiteY1" fmla="*/ 0 h 4854829"/>
              <a:gd name="connsiteX2" fmla="*/ 11955391 w 11960184"/>
              <a:gd name="connsiteY2" fmla="*/ 4854636 h 4854829"/>
              <a:gd name="connsiteX3" fmla="*/ 7384257 w 11960184"/>
              <a:gd name="connsiteY3" fmla="*/ 4843680 h 4854829"/>
              <a:gd name="connsiteX4" fmla="*/ 7381442 w 11960184"/>
              <a:gd name="connsiteY4" fmla="*/ 3543300 h 4854829"/>
              <a:gd name="connsiteX5" fmla="*/ 523124 w 11960184"/>
              <a:gd name="connsiteY5" fmla="*/ 3547023 h 4854829"/>
              <a:gd name="connsiteX6" fmla="*/ 523704 w 11960184"/>
              <a:gd name="connsiteY6" fmla="*/ 4850671 h 4854829"/>
              <a:gd name="connsiteX7" fmla="*/ 0 w 11960184"/>
              <a:gd name="connsiteY7" fmla="*/ 4847509 h 4854829"/>
              <a:gd name="connsiteX8" fmla="*/ 2382 w 11960184"/>
              <a:gd name="connsiteY8" fmla="*/ 0 h 4854829"/>
              <a:gd name="connsiteX0" fmla="*/ 2382 w 11975151"/>
              <a:gd name="connsiteY0" fmla="*/ 0 h 5210613"/>
              <a:gd name="connsiteX1" fmla="*/ 9149846 w 11975151"/>
              <a:gd name="connsiteY1" fmla="*/ 0 h 5210613"/>
              <a:gd name="connsiteX2" fmla="*/ 11955391 w 11975151"/>
              <a:gd name="connsiteY2" fmla="*/ 4854636 h 5210613"/>
              <a:gd name="connsiteX3" fmla="*/ 7384257 w 11975151"/>
              <a:gd name="connsiteY3" fmla="*/ 4843680 h 5210613"/>
              <a:gd name="connsiteX4" fmla="*/ 7381442 w 11975151"/>
              <a:gd name="connsiteY4" fmla="*/ 3543300 h 5210613"/>
              <a:gd name="connsiteX5" fmla="*/ 523124 w 11975151"/>
              <a:gd name="connsiteY5" fmla="*/ 3547023 h 5210613"/>
              <a:gd name="connsiteX6" fmla="*/ 523704 w 11975151"/>
              <a:gd name="connsiteY6" fmla="*/ 4850671 h 5210613"/>
              <a:gd name="connsiteX7" fmla="*/ 0 w 11975151"/>
              <a:gd name="connsiteY7" fmla="*/ 4847509 h 5210613"/>
              <a:gd name="connsiteX8" fmla="*/ 2382 w 11975151"/>
              <a:gd name="connsiteY8" fmla="*/ 0 h 5210613"/>
              <a:gd name="connsiteX0" fmla="*/ 2382 w 11955393"/>
              <a:gd name="connsiteY0" fmla="*/ 0 h 4854636"/>
              <a:gd name="connsiteX1" fmla="*/ 9149846 w 11955393"/>
              <a:gd name="connsiteY1" fmla="*/ 0 h 4854636"/>
              <a:gd name="connsiteX2" fmla="*/ 11955391 w 11955393"/>
              <a:gd name="connsiteY2" fmla="*/ 4854636 h 4854636"/>
              <a:gd name="connsiteX3" fmla="*/ 7384257 w 11955393"/>
              <a:gd name="connsiteY3" fmla="*/ 4843680 h 4854636"/>
              <a:gd name="connsiteX4" fmla="*/ 7381442 w 11955393"/>
              <a:gd name="connsiteY4" fmla="*/ 3543300 h 4854636"/>
              <a:gd name="connsiteX5" fmla="*/ 523124 w 11955393"/>
              <a:gd name="connsiteY5" fmla="*/ 3547023 h 4854636"/>
              <a:gd name="connsiteX6" fmla="*/ 523704 w 11955393"/>
              <a:gd name="connsiteY6" fmla="*/ 4850671 h 4854636"/>
              <a:gd name="connsiteX7" fmla="*/ 0 w 11955393"/>
              <a:gd name="connsiteY7" fmla="*/ 4847509 h 4854636"/>
              <a:gd name="connsiteX8" fmla="*/ 2382 w 11955393"/>
              <a:gd name="connsiteY8" fmla="*/ 0 h 4854636"/>
              <a:gd name="connsiteX0" fmla="*/ 2382 w 9685771"/>
              <a:gd name="connsiteY0" fmla="*/ 360370 h 5307510"/>
              <a:gd name="connsiteX1" fmla="*/ 9149846 w 9685771"/>
              <a:gd name="connsiteY1" fmla="*/ 360370 h 5307510"/>
              <a:gd name="connsiteX2" fmla="*/ 8661472 w 9685771"/>
              <a:gd name="connsiteY2" fmla="*/ 5225371 h 5307510"/>
              <a:gd name="connsiteX3" fmla="*/ 7384257 w 9685771"/>
              <a:gd name="connsiteY3" fmla="*/ 5204050 h 5307510"/>
              <a:gd name="connsiteX4" fmla="*/ 7381442 w 9685771"/>
              <a:gd name="connsiteY4" fmla="*/ 3903670 h 5307510"/>
              <a:gd name="connsiteX5" fmla="*/ 523124 w 9685771"/>
              <a:gd name="connsiteY5" fmla="*/ 3907393 h 5307510"/>
              <a:gd name="connsiteX6" fmla="*/ 523704 w 9685771"/>
              <a:gd name="connsiteY6" fmla="*/ 5211041 h 5307510"/>
              <a:gd name="connsiteX7" fmla="*/ 0 w 9685771"/>
              <a:gd name="connsiteY7" fmla="*/ 5207879 h 5307510"/>
              <a:gd name="connsiteX8" fmla="*/ 2382 w 9685771"/>
              <a:gd name="connsiteY8" fmla="*/ 360370 h 5307510"/>
              <a:gd name="connsiteX0" fmla="*/ 2382 w 9151108"/>
              <a:gd name="connsiteY0" fmla="*/ 0 h 4947140"/>
              <a:gd name="connsiteX1" fmla="*/ 9149846 w 9151108"/>
              <a:gd name="connsiteY1" fmla="*/ 0 h 4947140"/>
              <a:gd name="connsiteX2" fmla="*/ 8661472 w 9151108"/>
              <a:gd name="connsiteY2" fmla="*/ 4865001 h 4947140"/>
              <a:gd name="connsiteX3" fmla="*/ 7384257 w 9151108"/>
              <a:gd name="connsiteY3" fmla="*/ 4843680 h 4947140"/>
              <a:gd name="connsiteX4" fmla="*/ 7381442 w 9151108"/>
              <a:gd name="connsiteY4" fmla="*/ 3543300 h 4947140"/>
              <a:gd name="connsiteX5" fmla="*/ 523124 w 9151108"/>
              <a:gd name="connsiteY5" fmla="*/ 3547023 h 4947140"/>
              <a:gd name="connsiteX6" fmla="*/ 523704 w 9151108"/>
              <a:gd name="connsiteY6" fmla="*/ 4850671 h 4947140"/>
              <a:gd name="connsiteX7" fmla="*/ 0 w 9151108"/>
              <a:gd name="connsiteY7" fmla="*/ 4847509 h 4947140"/>
              <a:gd name="connsiteX8" fmla="*/ 2382 w 9151108"/>
              <a:gd name="connsiteY8" fmla="*/ 0 h 4947140"/>
              <a:gd name="connsiteX0" fmla="*/ 2382 w 9828173"/>
              <a:gd name="connsiteY0" fmla="*/ 356531 h 5286738"/>
              <a:gd name="connsiteX1" fmla="*/ 9149846 w 9828173"/>
              <a:gd name="connsiteY1" fmla="*/ 356531 h 5286738"/>
              <a:gd name="connsiteX2" fmla="*/ 9149845 w 9828173"/>
              <a:gd name="connsiteY2" fmla="*/ 5169707 h 5286738"/>
              <a:gd name="connsiteX3" fmla="*/ 7384257 w 9828173"/>
              <a:gd name="connsiteY3" fmla="*/ 5200211 h 5286738"/>
              <a:gd name="connsiteX4" fmla="*/ 7381442 w 9828173"/>
              <a:gd name="connsiteY4" fmla="*/ 3899831 h 5286738"/>
              <a:gd name="connsiteX5" fmla="*/ 523124 w 9828173"/>
              <a:gd name="connsiteY5" fmla="*/ 3903554 h 5286738"/>
              <a:gd name="connsiteX6" fmla="*/ 523704 w 9828173"/>
              <a:gd name="connsiteY6" fmla="*/ 5207202 h 5286738"/>
              <a:gd name="connsiteX7" fmla="*/ 0 w 9828173"/>
              <a:gd name="connsiteY7" fmla="*/ 5204040 h 5286738"/>
              <a:gd name="connsiteX8" fmla="*/ 2382 w 9828173"/>
              <a:gd name="connsiteY8" fmla="*/ 356531 h 5286738"/>
              <a:gd name="connsiteX0" fmla="*/ 2382 w 9154046"/>
              <a:gd name="connsiteY0" fmla="*/ 0 h 4930207"/>
              <a:gd name="connsiteX1" fmla="*/ 9149846 w 9154046"/>
              <a:gd name="connsiteY1" fmla="*/ 0 h 4930207"/>
              <a:gd name="connsiteX2" fmla="*/ 9149845 w 9154046"/>
              <a:gd name="connsiteY2" fmla="*/ 4813176 h 4930207"/>
              <a:gd name="connsiteX3" fmla="*/ 7384257 w 9154046"/>
              <a:gd name="connsiteY3" fmla="*/ 4843680 h 4930207"/>
              <a:gd name="connsiteX4" fmla="*/ 7381442 w 9154046"/>
              <a:gd name="connsiteY4" fmla="*/ 3543300 h 4930207"/>
              <a:gd name="connsiteX5" fmla="*/ 523124 w 9154046"/>
              <a:gd name="connsiteY5" fmla="*/ 3547023 h 4930207"/>
              <a:gd name="connsiteX6" fmla="*/ 523704 w 9154046"/>
              <a:gd name="connsiteY6" fmla="*/ 4850671 h 4930207"/>
              <a:gd name="connsiteX7" fmla="*/ 0 w 9154046"/>
              <a:gd name="connsiteY7" fmla="*/ 4847509 h 4930207"/>
              <a:gd name="connsiteX8" fmla="*/ 2382 w 9154046"/>
              <a:gd name="connsiteY8" fmla="*/ 0 h 4930207"/>
              <a:gd name="connsiteX0" fmla="*/ 2382 w 9154046"/>
              <a:gd name="connsiteY0" fmla="*/ 0 h 4850673"/>
              <a:gd name="connsiteX1" fmla="*/ 9149846 w 9154046"/>
              <a:gd name="connsiteY1" fmla="*/ 0 h 4850673"/>
              <a:gd name="connsiteX2" fmla="*/ 9149845 w 9154046"/>
              <a:gd name="connsiteY2" fmla="*/ 4813176 h 4850673"/>
              <a:gd name="connsiteX3" fmla="*/ 7384257 w 9154046"/>
              <a:gd name="connsiteY3" fmla="*/ 4843680 h 4850673"/>
              <a:gd name="connsiteX4" fmla="*/ 7381442 w 9154046"/>
              <a:gd name="connsiteY4" fmla="*/ 3543300 h 4850673"/>
              <a:gd name="connsiteX5" fmla="*/ 523124 w 9154046"/>
              <a:gd name="connsiteY5" fmla="*/ 3547023 h 4850673"/>
              <a:gd name="connsiteX6" fmla="*/ 523704 w 9154046"/>
              <a:gd name="connsiteY6" fmla="*/ 4850671 h 4850673"/>
              <a:gd name="connsiteX7" fmla="*/ 0 w 9154046"/>
              <a:gd name="connsiteY7" fmla="*/ 4847509 h 4850673"/>
              <a:gd name="connsiteX8" fmla="*/ 2382 w 9154046"/>
              <a:gd name="connsiteY8" fmla="*/ 0 h 4850673"/>
              <a:gd name="connsiteX0" fmla="*/ 2382 w 9282313"/>
              <a:gd name="connsiteY0" fmla="*/ 0 h 5171093"/>
              <a:gd name="connsiteX1" fmla="*/ 9149846 w 9282313"/>
              <a:gd name="connsiteY1" fmla="*/ 0 h 5171093"/>
              <a:gd name="connsiteX2" fmla="*/ 9149845 w 9282313"/>
              <a:gd name="connsiteY2" fmla="*/ 4813176 h 5171093"/>
              <a:gd name="connsiteX3" fmla="*/ 7384257 w 9282313"/>
              <a:gd name="connsiteY3" fmla="*/ 4821343 h 5171093"/>
              <a:gd name="connsiteX4" fmla="*/ 7381442 w 9282313"/>
              <a:gd name="connsiteY4" fmla="*/ 3543300 h 5171093"/>
              <a:gd name="connsiteX5" fmla="*/ 523124 w 9282313"/>
              <a:gd name="connsiteY5" fmla="*/ 3547023 h 5171093"/>
              <a:gd name="connsiteX6" fmla="*/ 523704 w 9282313"/>
              <a:gd name="connsiteY6" fmla="*/ 4850671 h 5171093"/>
              <a:gd name="connsiteX7" fmla="*/ 0 w 9282313"/>
              <a:gd name="connsiteY7" fmla="*/ 4847509 h 5171093"/>
              <a:gd name="connsiteX8" fmla="*/ 2382 w 9282313"/>
              <a:gd name="connsiteY8" fmla="*/ 0 h 5171093"/>
              <a:gd name="connsiteX0" fmla="*/ 2382 w 9282313"/>
              <a:gd name="connsiteY0" fmla="*/ 0 h 5168611"/>
              <a:gd name="connsiteX1" fmla="*/ 9149846 w 9282313"/>
              <a:gd name="connsiteY1" fmla="*/ 0 h 5168611"/>
              <a:gd name="connsiteX2" fmla="*/ 9149845 w 9282313"/>
              <a:gd name="connsiteY2" fmla="*/ 4813176 h 5168611"/>
              <a:gd name="connsiteX3" fmla="*/ 7384257 w 9282313"/>
              <a:gd name="connsiteY3" fmla="*/ 4813896 h 5168611"/>
              <a:gd name="connsiteX4" fmla="*/ 7381442 w 9282313"/>
              <a:gd name="connsiteY4" fmla="*/ 3543300 h 5168611"/>
              <a:gd name="connsiteX5" fmla="*/ 523124 w 9282313"/>
              <a:gd name="connsiteY5" fmla="*/ 3547023 h 5168611"/>
              <a:gd name="connsiteX6" fmla="*/ 523704 w 9282313"/>
              <a:gd name="connsiteY6" fmla="*/ 4850671 h 5168611"/>
              <a:gd name="connsiteX7" fmla="*/ 0 w 9282313"/>
              <a:gd name="connsiteY7" fmla="*/ 4847509 h 5168611"/>
              <a:gd name="connsiteX8" fmla="*/ 2382 w 9282313"/>
              <a:gd name="connsiteY8" fmla="*/ 0 h 5168611"/>
              <a:gd name="connsiteX0" fmla="*/ 2382 w 9153055"/>
              <a:gd name="connsiteY0" fmla="*/ 0 h 4850673"/>
              <a:gd name="connsiteX1" fmla="*/ 9149846 w 9153055"/>
              <a:gd name="connsiteY1" fmla="*/ 0 h 4850673"/>
              <a:gd name="connsiteX2" fmla="*/ 9149845 w 9153055"/>
              <a:gd name="connsiteY2" fmla="*/ 4813176 h 4850673"/>
              <a:gd name="connsiteX3" fmla="*/ 7384257 w 9153055"/>
              <a:gd name="connsiteY3" fmla="*/ 4813896 h 4850673"/>
              <a:gd name="connsiteX4" fmla="*/ 7381442 w 9153055"/>
              <a:gd name="connsiteY4" fmla="*/ 3543300 h 4850673"/>
              <a:gd name="connsiteX5" fmla="*/ 523124 w 9153055"/>
              <a:gd name="connsiteY5" fmla="*/ 3547023 h 4850673"/>
              <a:gd name="connsiteX6" fmla="*/ 523704 w 9153055"/>
              <a:gd name="connsiteY6" fmla="*/ 4850671 h 4850673"/>
              <a:gd name="connsiteX7" fmla="*/ 0 w 9153055"/>
              <a:gd name="connsiteY7" fmla="*/ 4847509 h 4850673"/>
              <a:gd name="connsiteX8" fmla="*/ 2382 w 9153055"/>
              <a:gd name="connsiteY8" fmla="*/ 0 h 4850673"/>
              <a:gd name="connsiteX0" fmla="*/ 2382 w 9153055"/>
              <a:gd name="connsiteY0" fmla="*/ 0 h 4850673"/>
              <a:gd name="connsiteX1" fmla="*/ 9149846 w 9153055"/>
              <a:gd name="connsiteY1" fmla="*/ 0 h 4850673"/>
              <a:gd name="connsiteX2" fmla="*/ 9149845 w 9153055"/>
              <a:gd name="connsiteY2" fmla="*/ 4813176 h 4850673"/>
              <a:gd name="connsiteX3" fmla="*/ 7384257 w 9153055"/>
              <a:gd name="connsiteY3" fmla="*/ 4813896 h 4850673"/>
              <a:gd name="connsiteX4" fmla="*/ 7381442 w 9153055"/>
              <a:gd name="connsiteY4" fmla="*/ 3543300 h 4850673"/>
              <a:gd name="connsiteX5" fmla="*/ 523124 w 9153055"/>
              <a:gd name="connsiteY5" fmla="*/ 3547023 h 4850673"/>
              <a:gd name="connsiteX6" fmla="*/ 523704 w 9153055"/>
              <a:gd name="connsiteY6" fmla="*/ 4850671 h 4850673"/>
              <a:gd name="connsiteX7" fmla="*/ 0 w 9153055"/>
              <a:gd name="connsiteY7" fmla="*/ 4847509 h 4850673"/>
              <a:gd name="connsiteX8" fmla="*/ 2382 w 9153055"/>
              <a:gd name="connsiteY8" fmla="*/ 0 h 4850673"/>
              <a:gd name="connsiteX0" fmla="*/ 2382 w 9153055"/>
              <a:gd name="connsiteY0" fmla="*/ 0 h 4847542"/>
              <a:gd name="connsiteX1" fmla="*/ 9149846 w 9153055"/>
              <a:gd name="connsiteY1" fmla="*/ 0 h 4847542"/>
              <a:gd name="connsiteX2" fmla="*/ 9149845 w 9153055"/>
              <a:gd name="connsiteY2" fmla="*/ 4813176 h 4847542"/>
              <a:gd name="connsiteX3" fmla="*/ 7384257 w 9153055"/>
              <a:gd name="connsiteY3" fmla="*/ 4813896 h 4847542"/>
              <a:gd name="connsiteX4" fmla="*/ 7381442 w 9153055"/>
              <a:gd name="connsiteY4" fmla="*/ 3543300 h 4847542"/>
              <a:gd name="connsiteX5" fmla="*/ 523124 w 9153055"/>
              <a:gd name="connsiteY5" fmla="*/ 3547023 h 4847542"/>
              <a:gd name="connsiteX6" fmla="*/ 517484 w 9153055"/>
              <a:gd name="connsiteY6" fmla="*/ 4825851 h 4847542"/>
              <a:gd name="connsiteX7" fmla="*/ 0 w 9153055"/>
              <a:gd name="connsiteY7" fmla="*/ 4847509 h 4847542"/>
              <a:gd name="connsiteX8" fmla="*/ 2382 w 9153055"/>
              <a:gd name="connsiteY8" fmla="*/ 0 h 4847542"/>
              <a:gd name="connsiteX0" fmla="*/ 2382 w 9153055"/>
              <a:gd name="connsiteY0" fmla="*/ 0 h 4835165"/>
              <a:gd name="connsiteX1" fmla="*/ 9149846 w 9153055"/>
              <a:gd name="connsiteY1" fmla="*/ 0 h 4835165"/>
              <a:gd name="connsiteX2" fmla="*/ 9149845 w 9153055"/>
              <a:gd name="connsiteY2" fmla="*/ 4813176 h 4835165"/>
              <a:gd name="connsiteX3" fmla="*/ 7384257 w 9153055"/>
              <a:gd name="connsiteY3" fmla="*/ 4813896 h 4835165"/>
              <a:gd name="connsiteX4" fmla="*/ 7381442 w 9153055"/>
              <a:gd name="connsiteY4" fmla="*/ 3543300 h 4835165"/>
              <a:gd name="connsiteX5" fmla="*/ 523124 w 9153055"/>
              <a:gd name="connsiteY5" fmla="*/ 3547023 h 4835165"/>
              <a:gd name="connsiteX6" fmla="*/ 517484 w 9153055"/>
              <a:gd name="connsiteY6" fmla="*/ 4825851 h 4835165"/>
              <a:gd name="connsiteX7" fmla="*/ 0 w 9153055"/>
              <a:gd name="connsiteY7" fmla="*/ 4835100 h 4835165"/>
              <a:gd name="connsiteX8" fmla="*/ 2382 w 9153055"/>
              <a:gd name="connsiteY8" fmla="*/ 0 h 4835165"/>
              <a:gd name="connsiteX0" fmla="*/ 2382 w 9153055"/>
              <a:gd name="connsiteY0" fmla="*/ 0 h 4835165"/>
              <a:gd name="connsiteX1" fmla="*/ 9149846 w 9153055"/>
              <a:gd name="connsiteY1" fmla="*/ 0 h 4835165"/>
              <a:gd name="connsiteX2" fmla="*/ 9149845 w 9153055"/>
              <a:gd name="connsiteY2" fmla="*/ 4813176 h 4835165"/>
              <a:gd name="connsiteX3" fmla="*/ 7384257 w 9153055"/>
              <a:gd name="connsiteY3" fmla="*/ 4813896 h 4835165"/>
              <a:gd name="connsiteX4" fmla="*/ 7381442 w 9153055"/>
              <a:gd name="connsiteY4" fmla="*/ 3543300 h 4835165"/>
              <a:gd name="connsiteX5" fmla="*/ 523124 w 9153055"/>
              <a:gd name="connsiteY5" fmla="*/ 3547023 h 4835165"/>
              <a:gd name="connsiteX6" fmla="*/ 517484 w 9153055"/>
              <a:gd name="connsiteY6" fmla="*/ 4825851 h 4835165"/>
              <a:gd name="connsiteX7" fmla="*/ 0 w 9153055"/>
              <a:gd name="connsiteY7" fmla="*/ 4835100 h 4835165"/>
              <a:gd name="connsiteX8" fmla="*/ 2382 w 9153055"/>
              <a:gd name="connsiteY8" fmla="*/ 0 h 4835165"/>
              <a:gd name="connsiteX0" fmla="*/ 0 w 9150673"/>
              <a:gd name="connsiteY0" fmla="*/ 0 h 4825853"/>
              <a:gd name="connsiteX1" fmla="*/ 9147464 w 9150673"/>
              <a:gd name="connsiteY1" fmla="*/ 0 h 4825853"/>
              <a:gd name="connsiteX2" fmla="*/ 9147463 w 9150673"/>
              <a:gd name="connsiteY2" fmla="*/ 4813176 h 4825853"/>
              <a:gd name="connsiteX3" fmla="*/ 7381875 w 9150673"/>
              <a:gd name="connsiteY3" fmla="*/ 4813896 h 4825853"/>
              <a:gd name="connsiteX4" fmla="*/ 7379060 w 9150673"/>
              <a:gd name="connsiteY4" fmla="*/ 3543300 h 4825853"/>
              <a:gd name="connsiteX5" fmla="*/ 520742 w 9150673"/>
              <a:gd name="connsiteY5" fmla="*/ 3547023 h 4825853"/>
              <a:gd name="connsiteX6" fmla="*/ 515102 w 9150673"/>
              <a:gd name="connsiteY6" fmla="*/ 4825851 h 4825853"/>
              <a:gd name="connsiteX7" fmla="*/ 2770 w 9150673"/>
              <a:gd name="connsiteY7" fmla="*/ 4817115 h 4825853"/>
              <a:gd name="connsiteX8" fmla="*/ 0 w 9150673"/>
              <a:gd name="connsiteY8" fmla="*/ 0 h 4825853"/>
              <a:gd name="connsiteX0" fmla="*/ 0 w 9150673"/>
              <a:gd name="connsiteY0" fmla="*/ 0 h 4818145"/>
              <a:gd name="connsiteX1" fmla="*/ 9147464 w 9150673"/>
              <a:gd name="connsiteY1" fmla="*/ 0 h 4818145"/>
              <a:gd name="connsiteX2" fmla="*/ 9147463 w 9150673"/>
              <a:gd name="connsiteY2" fmla="*/ 4813176 h 4818145"/>
              <a:gd name="connsiteX3" fmla="*/ 7381875 w 9150673"/>
              <a:gd name="connsiteY3" fmla="*/ 4813896 h 4818145"/>
              <a:gd name="connsiteX4" fmla="*/ 7379060 w 9150673"/>
              <a:gd name="connsiteY4" fmla="*/ 3543300 h 4818145"/>
              <a:gd name="connsiteX5" fmla="*/ 520742 w 9150673"/>
              <a:gd name="connsiteY5" fmla="*/ 3547023 h 4818145"/>
              <a:gd name="connsiteX6" fmla="*/ 515102 w 9150673"/>
              <a:gd name="connsiteY6" fmla="*/ 4818143 h 4818145"/>
              <a:gd name="connsiteX7" fmla="*/ 2770 w 9150673"/>
              <a:gd name="connsiteY7" fmla="*/ 4817115 h 4818145"/>
              <a:gd name="connsiteX8" fmla="*/ 0 w 9150673"/>
              <a:gd name="connsiteY8" fmla="*/ 0 h 481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50673" h="4818145">
                <a:moveTo>
                  <a:pt x="0" y="0"/>
                </a:moveTo>
                <a:lnTo>
                  <a:pt x="9147464" y="0"/>
                </a:lnTo>
                <a:cubicBezTo>
                  <a:pt x="9154968" y="4079"/>
                  <a:pt x="9146880" y="4807581"/>
                  <a:pt x="9147463" y="4813176"/>
                </a:cubicBezTo>
                <a:cubicBezTo>
                  <a:pt x="9148046" y="4818771"/>
                  <a:pt x="7385663" y="4807873"/>
                  <a:pt x="7381875" y="4813896"/>
                </a:cubicBezTo>
                <a:cubicBezTo>
                  <a:pt x="7378087" y="4819919"/>
                  <a:pt x="7380515" y="3538511"/>
                  <a:pt x="7379060" y="3543300"/>
                </a:cubicBezTo>
                <a:cubicBezTo>
                  <a:pt x="7377605" y="3548089"/>
                  <a:pt x="2806848" y="3545782"/>
                  <a:pt x="520742" y="3547023"/>
                </a:cubicBezTo>
                <a:cubicBezTo>
                  <a:pt x="519025" y="3777370"/>
                  <a:pt x="515915" y="4819927"/>
                  <a:pt x="515102" y="4818143"/>
                </a:cubicBezTo>
                <a:cubicBezTo>
                  <a:pt x="514289" y="4816359"/>
                  <a:pt x="257002" y="4818169"/>
                  <a:pt x="2770" y="4817115"/>
                </a:cubicBezTo>
                <a:cubicBezTo>
                  <a:pt x="1847" y="3211410"/>
                  <a:pt x="923" y="1605705"/>
                  <a:pt x="0" y="0"/>
                </a:cubicBez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28" name="Rectangle 2"/>
          <p:cNvSpPr>
            <a:spLocks noGrp="1" noChangeArrowheads="1"/>
          </p:cNvSpPr>
          <p:nvPr userDrawn="1">
            <p:ph type="ctrTitle"/>
          </p:nvPr>
        </p:nvSpPr>
        <p:spPr>
          <a:xfrm>
            <a:off x="2449391" y="4027623"/>
            <a:ext cx="7041743" cy="1047600"/>
          </a:xfrm>
          <a:noFill/>
        </p:spPr>
        <p:txBody>
          <a:bodyPr lIns="0" tIns="0" rIns="0"/>
          <a:lstStyle>
            <a:lvl1pPr algn="l" defTabSz="1219170" rtl="0" eaLnBrk="1" latinLnBrk="0" hangingPunct="1">
              <a:lnSpc>
                <a:spcPct val="100000"/>
              </a:lnSpc>
              <a:spcBef>
                <a:spcPct val="0"/>
              </a:spcBef>
              <a:buNone/>
              <a:defRPr lang="en-GB" sz="2400" b="0" kern="1200" cap="none" spc="0" baseline="0" dirty="0">
                <a:solidFill>
                  <a:schemeClr val="tx1"/>
                </a:solidFill>
                <a:latin typeface="+mj-lt"/>
                <a:ea typeface="+mj-ea"/>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2449391" y="5096741"/>
            <a:ext cx="7041743" cy="365979"/>
          </a:xfrm>
        </p:spPr>
        <p:txBody>
          <a:bodyPr anchor="b" anchorCtr="0"/>
          <a:lstStyle>
            <a:lvl1pPr marL="0" indent="0" algn="l" defTabSz="357708" rtl="0" eaLnBrk="1" latinLnBrk="0" hangingPunct="1">
              <a:lnSpc>
                <a:spcPct val="90000"/>
              </a:lnSpc>
              <a:spcBef>
                <a:spcPct val="0"/>
              </a:spcBef>
              <a:spcAft>
                <a:spcPts val="0"/>
              </a:spcAft>
              <a:buClr>
                <a:schemeClr val="accent2"/>
              </a:buClr>
              <a:buSzPct val="85000"/>
              <a:buFont typeface="Wingdings" pitchFamily="2" charset="2"/>
              <a:buNone/>
              <a:defRPr lang="en-GB" sz="1400" kern="1200" baseline="0" dirty="0">
                <a:solidFill>
                  <a:schemeClr val="tx1"/>
                </a:solidFill>
                <a:latin typeface="+mn-lt"/>
                <a:ea typeface="+mn-ea"/>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2449391" y="5636735"/>
            <a:ext cx="7041743" cy="237600"/>
          </a:xfrm>
        </p:spPr>
        <p:txBody>
          <a:bodyPr anchor="t" anchorCtr="0"/>
          <a:lstStyle>
            <a:lvl1pPr>
              <a:buNone/>
              <a:defRPr lang="en-GB" sz="1400" kern="1200" baseline="0" dirty="0">
                <a:solidFill>
                  <a:schemeClr val="tx1"/>
                </a:solidFill>
                <a:latin typeface="+mj-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Author’s Name</a:t>
            </a:r>
          </a:p>
        </p:txBody>
      </p:sp>
      <p:sp>
        <p:nvSpPr>
          <p:cNvPr id="33" name="Text Placeholder 31"/>
          <p:cNvSpPr>
            <a:spLocks noGrp="1"/>
          </p:cNvSpPr>
          <p:nvPr userDrawn="1">
            <p:ph type="body" sz="quarter" idx="11" hasCustomPrompt="1"/>
          </p:nvPr>
        </p:nvSpPr>
        <p:spPr>
          <a:xfrm>
            <a:off x="2449391" y="5892934"/>
            <a:ext cx="7041743" cy="237600"/>
          </a:xfrm>
        </p:spPr>
        <p:txBody>
          <a:bodyPr anchor="t" anchorCtr="0"/>
          <a:lstStyle>
            <a:lvl1pPr>
              <a:buNone/>
              <a:defRPr lang="en-GB" sz="1400" kern="1200" baseline="0" dirty="0">
                <a:solidFill>
                  <a:schemeClr val="tx1"/>
                </a:solidFill>
                <a:latin typeface="+mn-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Role in Organisation</a:t>
            </a:r>
          </a:p>
        </p:txBody>
      </p:sp>
      <p:sp>
        <p:nvSpPr>
          <p:cNvPr id="98" name="Text Box 11" descr="&lt;COMPANY_NAME&gt;" title="&lt;COMPANY_NAME&gt;"/>
          <p:cNvSpPr txBox="1">
            <a:spLocks noChangeArrowheads="1"/>
          </p:cNvSpPr>
          <p:nvPr userDrawn="1"/>
        </p:nvSpPr>
        <p:spPr bwMode="auto">
          <a:xfrm>
            <a:off x="677186" y="6478119"/>
            <a:ext cx="3047405" cy="237744"/>
          </a:xfrm>
          <a:prstGeom prst="rect">
            <a:avLst/>
          </a:prstGeom>
          <a:noFill/>
          <a:ln w="9525" algn="ctr">
            <a:noFill/>
            <a:miter lim="800000"/>
            <a:headEnd/>
            <a:tailEnd/>
          </a:ln>
          <a:effectLst/>
        </p:spPr>
        <p:txBody>
          <a:bodyPr wrap="none" lIns="0" tIns="0" rIns="0" anchor="t" anchorCtr="0">
            <a:noAutofit/>
          </a:bodyPr>
          <a:lstStyle/>
          <a:p>
            <a:pPr>
              <a:defRPr/>
            </a:pPr>
            <a:r>
              <a:rPr lang="en-US" sz="800" dirty="0">
                <a:solidFill>
                  <a:schemeClr val="tx1"/>
                </a:solidFill>
                <a:latin typeface="+mn-lt"/>
                <a:cs typeface="Arial" pitchFamily="34" charset="0"/>
              </a:rPr>
              <a:t>Copyright of Shell Petroleum and Development Company</a:t>
            </a:r>
            <a:endParaRPr lang="en-GB" sz="800" dirty="0">
              <a:solidFill>
                <a:schemeClr val="tx1"/>
              </a:solidFill>
              <a:latin typeface="+mn-lt"/>
              <a:cs typeface="Arial" pitchFamily="34" charset="0"/>
            </a:endParaRPr>
          </a:p>
        </p:txBody>
      </p:sp>
      <p:sp>
        <p:nvSpPr>
          <p:cNvPr id="99"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0"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01"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054274356"/>
      </p:ext>
    </p:extLst>
  </p:cSld>
  <p:clrMapOvr>
    <a:masterClrMapping/>
  </p:clrMapOvr>
  <p:transition/>
  <p:extLst>
    <p:ext uri="{DCECCB84-F9BA-43D5-87BE-67443E8EF086}">
      <p15:sldGuideLst xmlns:p15="http://schemas.microsoft.com/office/powerpoint/2012/main">
        <p15:guide id="1" orient="horz" pos="2160">
          <p15:clr>
            <a:srgbClr val="FBAE40"/>
          </p15:clr>
        </p15:guide>
        <p15:guide id="4" pos="448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grpSp>
        <p:nvGrpSpPr>
          <p:cNvPr id="4" name="Group 3"/>
          <p:cNvGrpSpPr/>
          <p:nvPr userDrawn="1"/>
        </p:nvGrpSpPr>
        <p:grpSpPr>
          <a:xfrm>
            <a:off x="534554" y="3554414"/>
            <a:ext cx="9291013" cy="2797175"/>
            <a:chOff x="400915" y="3554413"/>
            <a:chExt cx="6968260" cy="2797175"/>
          </a:xfrm>
        </p:grpSpPr>
        <p:sp>
          <p:nvSpPr>
            <p:cNvPr id="102" name="Rectangle 101"/>
            <p:cNvSpPr/>
            <p:nvPr userDrawn="1"/>
          </p:nvSpPr>
          <p:spPr bwMode="gray">
            <a:xfrm>
              <a:off x="504824" y="3554413"/>
              <a:ext cx="6864351" cy="2797175"/>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p>
          </p:txBody>
        </p:sp>
        <p:sp>
          <p:nvSpPr>
            <p:cNvPr id="103" name="Rectangle 102"/>
            <p:cNvSpPr/>
            <p:nvPr userDrawn="1"/>
          </p:nvSpPr>
          <p:spPr bwMode="gray">
            <a:xfrm>
              <a:off x="1832301" y="3829099"/>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tx1"/>
                </a:solidFill>
              </a:endParaRPr>
            </a:p>
          </p:txBody>
        </p:sp>
        <p:pic>
          <p:nvPicPr>
            <p:cNvPr id="104" name="Picture 103"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00915" y="3688499"/>
              <a:ext cx="1465237" cy="1465237"/>
            </a:xfrm>
            <a:prstGeom prst="rect">
              <a:avLst/>
            </a:prstGeom>
          </p:spPr>
        </p:pic>
      </p:grpSp>
      <p:sp>
        <p:nvSpPr>
          <p:cNvPr id="98" name="Picture Placeholder 2"/>
          <p:cNvSpPr>
            <a:spLocks noGrp="1"/>
          </p:cNvSpPr>
          <p:nvPr userDrawn="1">
            <p:ph type="pic" sz="quarter" idx="14"/>
          </p:nvPr>
        </p:nvSpPr>
        <p:spPr bwMode="auto">
          <a:xfrm>
            <a:off x="1" y="1"/>
            <a:ext cx="1221675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9398360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9419626"/>
              <a:gd name="connsiteY0" fmla="*/ 0 h 6857999"/>
              <a:gd name="connsiteX1" fmla="*/ 9398360 w 9419626"/>
              <a:gd name="connsiteY1" fmla="*/ 0 h 6857999"/>
              <a:gd name="connsiteX2" fmla="*/ 9419626 w 9419626"/>
              <a:gd name="connsiteY2" fmla="*/ 6857999 h 6857999"/>
              <a:gd name="connsiteX3" fmla="*/ 0 w 9419626"/>
              <a:gd name="connsiteY3" fmla="*/ 6857999 h 6857999"/>
              <a:gd name="connsiteX4" fmla="*/ 0 w 9419626"/>
              <a:gd name="connsiteY4" fmla="*/ 0 h 6857999"/>
              <a:gd name="connsiteX5" fmla="*/ 753155 w 9419626"/>
              <a:gd name="connsiteY5" fmla="*/ 3560901 h 6857999"/>
              <a:gd name="connsiteX6" fmla="*/ 763913 w 9419626"/>
              <a:gd name="connsiteY6" fmla="*/ 6359075 h 6857999"/>
              <a:gd name="connsiteX7" fmla="*/ 7622163 w 9419626"/>
              <a:gd name="connsiteY7" fmla="*/ 6355342 h 6857999"/>
              <a:gd name="connsiteX8" fmla="*/ 7622603 w 9419626"/>
              <a:gd name="connsiteY8" fmla="*/ 3560901 h 6857999"/>
              <a:gd name="connsiteX9" fmla="*/ 753155 w 9419626"/>
              <a:gd name="connsiteY9" fmla="*/ 3560901 h 6857999"/>
              <a:gd name="connsiteX0" fmla="*/ 0 w 9419626"/>
              <a:gd name="connsiteY0" fmla="*/ 0 h 6857999"/>
              <a:gd name="connsiteX1" fmla="*/ 9398360 w 9419626"/>
              <a:gd name="connsiteY1" fmla="*/ 0 h 6857999"/>
              <a:gd name="connsiteX2" fmla="*/ 9419626 w 9419626"/>
              <a:gd name="connsiteY2" fmla="*/ 6857999 h 6857999"/>
              <a:gd name="connsiteX3" fmla="*/ 233916 w 9419626"/>
              <a:gd name="connsiteY3" fmla="*/ 6857999 h 6857999"/>
              <a:gd name="connsiteX4" fmla="*/ 0 w 9419626"/>
              <a:gd name="connsiteY4" fmla="*/ 0 h 6857999"/>
              <a:gd name="connsiteX5" fmla="*/ 753155 w 9419626"/>
              <a:gd name="connsiteY5" fmla="*/ 3560901 h 6857999"/>
              <a:gd name="connsiteX6" fmla="*/ 763913 w 9419626"/>
              <a:gd name="connsiteY6" fmla="*/ 6359075 h 6857999"/>
              <a:gd name="connsiteX7" fmla="*/ 7622163 w 9419626"/>
              <a:gd name="connsiteY7" fmla="*/ 6355342 h 6857999"/>
              <a:gd name="connsiteX8" fmla="*/ 7622603 w 9419626"/>
              <a:gd name="connsiteY8" fmla="*/ 3560901 h 6857999"/>
              <a:gd name="connsiteX9" fmla="*/ 753155 w 9419626"/>
              <a:gd name="connsiteY9" fmla="*/ 3560901 h 6857999"/>
              <a:gd name="connsiteX0" fmla="*/ 10633 w 9185710"/>
              <a:gd name="connsiteY0" fmla="*/ 0 h 6857999"/>
              <a:gd name="connsiteX1" fmla="*/ 9164444 w 9185710"/>
              <a:gd name="connsiteY1" fmla="*/ 0 h 6857999"/>
              <a:gd name="connsiteX2" fmla="*/ 9185710 w 9185710"/>
              <a:gd name="connsiteY2" fmla="*/ 6857999 h 6857999"/>
              <a:gd name="connsiteX3" fmla="*/ 0 w 9185710"/>
              <a:gd name="connsiteY3" fmla="*/ 6857999 h 6857999"/>
              <a:gd name="connsiteX4" fmla="*/ 10633 w 9185710"/>
              <a:gd name="connsiteY4" fmla="*/ 0 h 6857999"/>
              <a:gd name="connsiteX5" fmla="*/ 519239 w 9185710"/>
              <a:gd name="connsiteY5" fmla="*/ 3560901 h 6857999"/>
              <a:gd name="connsiteX6" fmla="*/ 529997 w 9185710"/>
              <a:gd name="connsiteY6" fmla="*/ 6359075 h 6857999"/>
              <a:gd name="connsiteX7" fmla="*/ 7388247 w 9185710"/>
              <a:gd name="connsiteY7" fmla="*/ 6355342 h 6857999"/>
              <a:gd name="connsiteX8" fmla="*/ 7388687 w 9185710"/>
              <a:gd name="connsiteY8" fmla="*/ 3560901 h 6857999"/>
              <a:gd name="connsiteX9" fmla="*/ 519239 w 9185710"/>
              <a:gd name="connsiteY9" fmla="*/ 3560901 h 6857999"/>
              <a:gd name="connsiteX0" fmla="*/ 1023 w 9186733"/>
              <a:gd name="connsiteY0" fmla="*/ 0 h 6857999"/>
              <a:gd name="connsiteX1" fmla="*/ 9165467 w 9186733"/>
              <a:gd name="connsiteY1" fmla="*/ 0 h 6857999"/>
              <a:gd name="connsiteX2" fmla="*/ 9186733 w 9186733"/>
              <a:gd name="connsiteY2" fmla="*/ 6857999 h 6857999"/>
              <a:gd name="connsiteX3" fmla="*/ 1023 w 9186733"/>
              <a:gd name="connsiteY3" fmla="*/ 6857999 h 6857999"/>
              <a:gd name="connsiteX4" fmla="*/ 1023 w 9186733"/>
              <a:gd name="connsiteY4" fmla="*/ 0 h 6857999"/>
              <a:gd name="connsiteX5" fmla="*/ 520262 w 9186733"/>
              <a:gd name="connsiteY5" fmla="*/ 3560901 h 6857999"/>
              <a:gd name="connsiteX6" fmla="*/ 531020 w 9186733"/>
              <a:gd name="connsiteY6" fmla="*/ 6359075 h 6857999"/>
              <a:gd name="connsiteX7" fmla="*/ 7389270 w 9186733"/>
              <a:gd name="connsiteY7" fmla="*/ 6355342 h 6857999"/>
              <a:gd name="connsiteX8" fmla="*/ 7389710 w 9186733"/>
              <a:gd name="connsiteY8" fmla="*/ 3560901 h 6857999"/>
              <a:gd name="connsiteX9" fmla="*/ 520262 w 9186733"/>
              <a:gd name="connsiteY9" fmla="*/ 3560901 h 6857999"/>
              <a:gd name="connsiteX0" fmla="*/ 1023 w 9187015"/>
              <a:gd name="connsiteY0" fmla="*/ 0 h 6857999"/>
              <a:gd name="connsiteX1" fmla="*/ 9184703 w 9187015"/>
              <a:gd name="connsiteY1" fmla="*/ 0 h 6857999"/>
              <a:gd name="connsiteX2" fmla="*/ 9186733 w 9187015"/>
              <a:gd name="connsiteY2" fmla="*/ 6857999 h 6857999"/>
              <a:gd name="connsiteX3" fmla="*/ 1023 w 9187015"/>
              <a:gd name="connsiteY3" fmla="*/ 6857999 h 6857999"/>
              <a:gd name="connsiteX4" fmla="*/ 1023 w 9187015"/>
              <a:gd name="connsiteY4" fmla="*/ 0 h 6857999"/>
              <a:gd name="connsiteX5" fmla="*/ 520262 w 9187015"/>
              <a:gd name="connsiteY5" fmla="*/ 3560901 h 6857999"/>
              <a:gd name="connsiteX6" fmla="*/ 531020 w 9187015"/>
              <a:gd name="connsiteY6" fmla="*/ 6359075 h 6857999"/>
              <a:gd name="connsiteX7" fmla="*/ 7389270 w 9187015"/>
              <a:gd name="connsiteY7" fmla="*/ 6355342 h 6857999"/>
              <a:gd name="connsiteX8" fmla="*/ 7389710 w 9187015"/>
              <a:gd name="connsiteY8" fmla="*/ 3560901 h 6857999"/>
              <a:gd name="connsiteX9" fmla="*/ 520262 w 9187015"/>
              <a:gd name="connsiteY9" fmla="*/ 3560901 h 6857999"/>
              <a:gd name="connsiteX0" fmla="*/ 1023 w 9187015"/>
              <a:gd name="connsiteY0" fmla="*/ 0 h 6857999"/>
              <a:gd name="connsiteX1" fmla="*/ 9184703 w 9187015"/>
              <a:gd name="connsiteY1" fmla="*/ 0 h 6857999"/>
              <a:gd name="connsiteX2" fmla="*/ 9186733 w 9187015"/>
              <a:gd name="connsiteY2" fmla="*/ 6857999 h 6857999"/>
              <a:gd name="connsiteX3" fmla="*/ 1023 w 9187015"/>
              <a:gd name="connsiteY3" fmla="*/ 6857999 h 6857999"/>
              <a:gd name="connsiteX4" fmla="*/ 1023 w 9187015"/>
              <a:gd name="connsiteY4" fmla="*/ 0 h 6857999"/>
              <a:gd name="connsiteX5" fmla="*/ 520262 w 9187015"/>
              <a:gd name="connsiteY5" fmla="*/ 3560901 h 6857999"/>
              <a:gd name="connsiteX6" fmla="*/ 531020 w 9187015"/>
              <a:gd name="connsiteY6" fmla="*/ 6359075 h 6857999"/>
              <a:gd name="connsiteX7" fmla="*/ 7389270 w 9187015"/>
              <a:gd name="connsiteY7" fmla="*/ 6355342 h 6857999"/>
              <a:gd name="connsiteX8" fmla="*/ 7405739 w 9187015"/>
              <a:gd name="connsiteY8" fmla="*/ 3560901 h 6857999"/>
              <a:gd name="connsiteX9" fmla="*/ 520262 w 9187015"/>
              <a:gd name="connsiteY9" fmla="*/ 3560901 h 6857999"/>
              <a:gd name="connsiteX0" fmla="*/ 1023 w 9187015"/>
              <a:gd name="connsiteY0" fmla="*/ 0 h 6857999"/>
              <a:gd name="connsiteX1" fmla="*/ 9184703 w 9187015"/>
              <a:gd name="connsiteY1" fmla="*/ 0 h 6857999"/>
              <a:gd name="connsiteX2" fmla="*/ 9186733 w 9187015"/>
              <a:gd name="connsiteY2" fmla="*/ 6857999 h 6857999"/>
              <a:gd name="connsiteX3" fmla="*/ 1023 w 9187015"/>
              <a:gd name="connsiteY3" fmla="*/ 6857999 h 6857999"/>
              <a:gd name="connsiteX4" fmla="*/ 1023 w 9187015"/>
              <a:gd name="connsiteY4" fmla="*/ 0 h 6857999"/>
              <a:gd name="connsiteX5" fmla="*/ 520262 w 9187015"/>
              <a:gd name="connsiteY5" fmla="*/ 3560901 h 6857999"/>
              <a:gd name="connsiteX6" fmla="*/ 531020 w 9187015"/>
              <a:gd name="connsiteY6" fmla="*/ 6359075 h 6857999"/>
              <a:gd name="connsiteX7" fmla="*/ 7405299 w 9187015"/>
              <a:gd name="connsiteY7" fmla="*/ 6355342 h 6857999"/>
              <a:gd name="connsiteX8" fmla="*/ 7405739 w 9187015"/>
              <a:gd name="connsiteY8" fmla="*/ 3560901 h 6857999"/>
              <a:gd name="connsiteX9" fmla="*/ 520262 w 9187015"/>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7015" h="6857999">
                <a:moveTo>
                  <a:pt x="1023" y="0"/>
                </a:moveTo>
                <a:lnTo>
                  <a:pt x="9184703" y="0"/>
                </a:lnTo>
                <a:cubicBezTo>
                  <a:pt x="9191792" y="2286000"/>
                  <a:pt x="9179644" y="4571999"/>
                  <a:pt x="9186733" y="6857999"/>
                </a:cubicBezTo>
                <a:lnTo>
                  <a:pt x="1023" y="6857999"/>
                </a:lnTo>
                <a:cubicBezTo>
                  <a:pt x="4567" y="4571999"/>
                  <a:pt x="-2521" y="2286000"/>
                  <a:pt x="1023" y="0"/>
                </a:cubicBezTo>
                <a:close/>
                <a:moveTo>
                  <a:pt x="520262" y="3560901"/>
                </a:moveTo>
                <a:lnTo>
                  <a:pt x="531020" y="6359075"/>
                </a:lnTo>
                <a:lnTo>
                  <a:pt x="7405299" y="6355342"/>
                </a:lnTo>
                <a:cubicBezTo>
                  <a:pt x="7401713" y="5510947"/>
                  <a:pt x="7409325" y="4405296"/>
                  <a:pt x="7405739" y="3560901"/>
                </a:cubicBezTo>
                <a:lnTo>
                  <a:pt x="520262" y="3560901"/>
                </a:ln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28" name="Rectangle 2"/>
          <p:cNvSpPr>
            <a:spLocks noGrp="1" noChangeArrowheads="1"/>
          </p:cNvSpPr>
          <p:nvPr userDrawn="1">
            <p:ph type="ctrTitle"/>
          </p:nvPr>
        </p:nvSpPr>
        <p:spPr>
          <a:xfrm>
            <a:off x="2449391" y="4027623"/>
            <a:ext cx="7041743" cy="1047600"/>
          </a:xfrm>
          <a:noFill/>
        </p:spPr>
        <p:txBody>
          <a:bodyPr lIns="0" tIns="0" rIns="0"/>
          <a:lstStyle>
            <a:lvl1pPr algn="l" defTabSz="1219170" rtl="0" eaLnBrk="1" latinLnBrk="0" hangingPunct="1">
              <a:lnSpc>
                <a:spcPct val="100000"/>
              </a:lnSpc>
              <a:spcBef>
                <a:spcPct val="0"/>
              </a:spcBef>
              <a:buNone/>
              <a:defRPr lang="en-GB" sz="2400" b="0" kern="1200" cap="none" spc="0" baseline="0" dirty="0">
                <a:solidFill>
                  <a:schemeClr val="tx1"/>
                </a:solidFill>
                <a:latin typeface="+mj-lt"/>
                <a:ea typeface="+mj-ea"/>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2449391" y="5096741"/>
            <a:ext cx="7041743" cy="365979"/>
          </a:xfrm>
        </p:spPr>
        <p:txBody>
          <a:bodyPr anchor="b" anchorCtr="0"/>
          <a:lstStyle>
            <a:lvl1pPr marL="0" indent="0" algn="l" defTabSz="357708" rtl="0" eaLnBrk="1" latinLnBrk="0" hangingPunct="1">
              <a:lnSpc>
                <a:spcPct val="90000"/>
              </a:lnSpc>
              <a:spcBef>
                <a:spcPct val="0"/>
              </a:spcBef>
              <a:spcAft>
                <a:spcPts val="0"/>
              </a:spcAft>
              <a:buClr>
                <a:schemeClr val="accent2"/>
              </a:buClr>
              <a:buSzPct val="85000"/>
              <a:buFont typeface="Wingdings" pitchFamily="2" charset="2"/>
              <a:buNone/>
              <a:defRPr lang="en-GB" sz="1400" kern="1200" baseline="0" dirty="0">
                <a:solidFill>
                  <a:schemeClr val="tx1"/>
                </a:solidFill>
                <a:latin typeface="+mn-lt"/>
                <a:ea typeface="+mn-ea"/>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2449391" y="5636735"/>
            <a:ext cx="7041743" cy="237600"/>
          </a:xfrm>
        </p:spPr>
        <p:txBody>
          <a:bodyPr anchor="t" anchorCtr="0"/>
          <a:lstStyle>
            <a:lvl1pPr>
              <a:buNone/>
              <a:defRPr lang="en-GB" sz="1400" kern="1200" baseline="0" dirty="0">
                <a:solidFill>
                  <a:schemeClr val="tx1"/>
                </a:solidFill>
                <a:latin typeface="+mj-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Author’s Name</a:t>
            </a:r>
          </a:p>
        </p:txBody>
      </p:sp>
      <p:sp>
        <p:nvSpPr>
          <p:cNvPr id="33" name="Text Placeholder 31"/>
          <p:cNvSpPr>
            <a:spLocks noGrp="1"/>
          </p:cNvSpPr>
          <p:nvPr userDrawn="1">
            <p:ph type="body" sz="quarter" idx="11" hasCustomPrompt="1"/>
          </p:nvPr>
        </p:nvSpPr>
        <p:spPr>
          <a:xfrm>
            <a:off x="2449391" y="5892934"/>
            <a:ext cx="7041743" cy="237600"/>
          </a:xfrm>
        </p:spPr>
        <p:txBody>
          <a:bodyPr anchor="t" anchorCtr="0"/>
          <a:lstStyle>
            <a:lvl1pPr>
              <a:buNone/>
              <a:defRPr lang="en-GB" sz="1400" kern="1200" baseline="0" dirty="0">
                <a:solidFill>
                  <a:schemeClr val="tx1"/>
                </a:solidFill>
                <a:latin typeface="+mn-lt"/>
                <a:ea typeface="+mn-ea"/>
                <a:cs typeface="+mn-cs"/>
              </a:defRPr>
            </a:lvl1pPr>
          </a:lstStyle>
          <a:p>
            <a:pPr marL="0" lvl="0" indent="0" algn="l" defTabSz="357708" rtl="0" eaLnBrk="1" latinLnBrk="0" hangingPunct="1">
              <a:lnSpc>
                <a:spcPct val="100000"/>
              </a:lnSpc>
              <a:spcBef>
                <a:spcPts val="0"/>
              </a:spcBef>
              <a:spcAft>
                <a:spcPts val="800"/>
              </a:spcAft>
              <a:buClr>
                <a:schemeClr val="accent2"/>
              </a:buClr>
              <a:buSzPct val="85000"/>
              <a:buFont typeface="Wingdings" pitchFamily="2" charset="2"/>
              <a:buNone/>
            </a:pPr>
            <a:r>
              <a:rPr lang="en-GB" dirty="0"/>
              <a:t>Click to insert Role in Organisation</a:t>
            </a:r>
          </a:p>
        </p:txBody>
      </p:sp>
      <p:sp>
        <p:nvSpPr>
          <p:cNvPr id="99" name="Text Box 11" descr="&lt;COMPANY_NAME&gt;" title="&lt;COMPANY_NAME&gt;"/>
          <p:cNvSpPr txBox="1">
            <a:spLocks noChangeArrowheads="1"/>
          </p:cNvSpPr>
          <p:nvPr userDrawn="1"/>
        </p:nvSpPr>
        <p:spPr bwMode="auto">
          <a:xfrm>
            <a:off x="677186" y="6478119"/>
            <a:ext cx="3047405" cy="237744"/>
          </a:xfrm>
          <a:prstGeom prst="rect">
            <a:avLst/>
          </a:prstGeom>
          <a:noFill/>
          <a:ln w="9525" algn="ctr">
            <a:noFill/>
            <a:miter lim="800000"/>
            <a:headEnd/>
            <a:tailEnd/>
          </a:ln>
          <a:effectLst/>
        </p:spPr>
        <p:txBody>
          <a:bodyPr wrap="none" lIns="0" tIns="0" rIns="0" anchor="t" anchorCtr="0">
            <a:noAutofit/>
          </a:bodyPr>
          <a:lstStyle/>
          <a:p>
            <a:pPr>
              <a:defRPr/>
            </a:pPr>
            <a:r>
              <a:rPr lang="en-US" sz="800" dirty="0">
                <a:solidFill>
                  <a:schemeClr val="tx1"/>
                </a:solidFill>
                <a:latin typeface="+mn-lt"/>
                <a:cs typeface="Arial" pitchFamily="34" charset="0"/>
              </a:rPr>
              <a:t>Copyright of Shell Petroleum and Development Company</a:t>
            </a:r>
            <a:endParaRPr lang="en-GB" sz="800" dirty="0">
              <a:solidFill>
                <a:schemeClr val="tx1"/>
              </a:solidFill>
              <a:latin typeface="+mn-lt"/>
              <a:cs typeface="Arial" pitchFamily="34" charset="0"/>
            </a:endParaRPr>
          </a:p>
        </p:txBody>
      </p:sp>
      <p:sp>
        <p:nvSpPr>
          <p:cNvPr id="100"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1"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05"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2764243764"/>
      </p:ext>
    </p:extLst>
  </p:cSld>
  <p:clrMapOvr>
    <a:masterClrMapping/>
  </p:clrMapOvr>
  <p:transition/>
  <p:extLst>
    <p:ext uri="{DCECCB84-F9BA-43D5-87BE-67443E8EF086}">
      <p15:sldGuideLst xmlns:p15="http://schemas.microsoft.com/office/powerpoint/2012/main">
        <p15:guide id="3" orient="horz" pos="4001">
          <p15:clr>
            <a:srgbClr val="FBAE40"/>
          </p15:clr>
        </p15:guide>
        <p15:guide id="4" pos="464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72727" y="728663"/>
            <a:ext cx="10846173"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mj-lt"/>
                <a:ea typeface="+mj-ea"/>
                <a:cs typeface="+mj-cs"/>
              </a:defRPr>
            </a:lvl1pPr>
          </a:lstStyle>
          <a:p>
            <a:pPr lvl="0" algn="l" defTabSz="914400" rtl="0" eaLnBrk="1" latinLnBrk="0" hangingPunct="1">
              <a:spcBef>
                <a:spcPct val="0"/>
              </a:spcBef>
              <a:buNone/>
            </a:pPr>
            <a:r>
              <a:rPr lang="en-US" noProof="0"/>
              <a:t>Click to edit Master title style</a:t>
            </a:r>
            <a:endParaRPr lang="en-GB" noProof="0" dirty="0"/>
          </a:p>
        </p:txBody>
      </p:sp>
      <p:sp>
        <p:nvSpPr>
          <p:cNvPr id="10" name="Content Placeholder 9"/>
          <p:cNvSpPr>
            <a:spLocks noGrp="1"/>
          </p:cNvSpPr>
          <p:nvPr>
            <p:ph sz="quarter" idx="11"/>
          </p:nvPr>
        </p:nvSpPr>
        <p:spPr>
          <a:xfrm>
            <a:off x="673101" y="1557339"/>
            <a:ext cx="10845800"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5"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2775550085"/>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8" name="Picture Placeholder 2"/>
          <p:cNvSpPr>
            <a:spLocks noGrp="1"/>
          </p:cNvSpPr>
          <p:nvPr>
            <p:ph type="pic" sz="quarter" idx="12"/>
          </p:nvPr>
        </p:nvSpPr>
        <p:spPr bwMode="auto">
          <a:xfrm>
            <a:off x="0" y="0"/>
            <a:ext cx="12195176"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9108537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9160493"/>
              <a:gd name="connsiteY0" fmla="*/ 0 h 6857999"/>
              <a:gd name="connsiteX1" fmla="*/ 9108537 w 9160493"/>
              <a:gd name="connsiteY1" fmla="*/ 0 h 6857999"/>
              <a:gd name="connsiteX2" fmla="*/ 9160493 w 9160493"/>
              <a:gd name="connsiteY2" fmla="*/ 6857999 h 6857999"/>
              <a:gd name="connsiteX3" fmla="*/ 0 w 9160493"/>
              <a:gd name="connsiteY3" fmla="*/ 6857999 h 6857999"/>
              <a:gd name="connsiteX4" fmla="*/ 0 w 9160493"/>
              <a:gd name="connsiteY4" fmla="*/ 0 h 6857999"/>
              <a:gd name="connsiteX5" fmla="*/ 508891 w 9160493"/>
              <a:gd name="connsiteY5" fmla="*/ 511425 h 6857999"/>
              <a:gd name="connsiteX6" fmla="*/ 511097 w 9160493"/>
              <a:gd name="connsiteY6" fmla="*/ 583270 h 6857999"/>
              <a:gd name="connsiteX7" fmla="*/ 1774181 w 9160493"/>
              <a:gd name="connsiteY7" fmla="*/ 585272 h 6857999"/>
              <a:gd name="connsiteX8" fmla="*/ 1769076 w 9160493"/>
              <a:gd name="connsiteY8" fmla="*/ 508490 h 6857999"/>
              <a:gd name="connsiteX9" fmla="*/ 508891 w 9160493"/>
              <a:gd name="connsiteY9" fmla="*/ 511425 h 6857999"/>
              <a:gd name="connsiteX0" fmla="*/ 0 w 9160493"/>
              <a:gd name="connsiteY0" fmla="*/ 0 h 6857999"/>
              <a:gd name="connsiteX1" fmla="*/ 9151400 w 9160493"/>
              <a:gd name="connsiteY1" fmla="*/ 0 h 6857999"/>
              <a:gd name="connsiteX2" fmla="*/ 9160493 w 9160493"/>
              <a:gd name="connsiteY2" fmla="*/ 6857999 h 6857999"/>
              <a:gd name="connsiteX3" fmla="*/ 0 w 9160493"/>
              <a:gd name="connsiteY3" fmla="*/ 6857999 h 6857999"/>
              <a:gd name="connsiteX4" fmla="*/ 0 w 9160493"/>
              <a:gd name="connsiteY4" fmla="*/ 0 h 6857999"/>
              <a:gd name="connsiteX5" fmla="*/ 508891 w 9160493"/>
              <a:gd name="connsiteY5" fmla="*/ 511425 h 6857999"/>
              <a:gd name="connsiteX6" fmla="*/ 511097 w 9160493"/>
              <a:gd name="connsiteY6" fmla="*/ 583270 h 6857999"/>
              <a:gd name="connsiteX7" fmla="*/ 1774181 w 9160493"/>
              <a:gd name="connsiteY7" fmla="*/ 585272 h 6857999"/>
              <a:gd name="connsiteX8" fmla="*/ 1769076 w 9160493"/>
              <a:gd name="connsiteY8" fmla="*/ 508490 h 6857999"/>
              <a:gd name="connsiteX9" fmla="*/ 508891 w 9160493"/>
              <a:gd name="connsiteY9" fmla="*/ 511425 h 6857999"/>
              <a:gd name="connsiteX0" fmla="*/ 0 w 9154778"/>
              <a:gd name="connsiteY0" fmla="*/ 0 h 6857999"/>
              <a:gd name="connsiteX1" fmla="*/ 9151400 w 9154778"/>
              <a:gd name="connsiteY1" fmla="*/ 0 h 6857999"/>
              <a:gd name="connsiteX2" fmla="*/ 9154778 w 9154778"/>
              <a:gd name="connsiteY2" fmla="*/ 6857999 h 6857999"/>
              <a:gd name="connsiteX3" fmla="*/ 0 w 9154778"/>
              <a:gd name="connsiteY3" fmla="*/ 6857999 h 6857999"/>
              <a:gd name="connsiteX4" fmla="*/ 0 w 9154778"/>
              <a:gd name="connsiteY4" fmla="*/ 0 h 6857999"/>
              <a:gd name="connsiteX5" fmla="*/ 508891 w 9154778"/>
              <a:gd name="connsiteY5" fmla="*/ 511425 h 6857999"/>
              <a:gd name="connsiteX6" fmla="*/ 511097 w 9154778"/>
              <a:gd name="connsiteY6" fmla="*/ 583270 h 6857999"/>
              <a:gd name="connsiteX7" fmla="*/ 1774181 w 9154778"/>
              <a:gd name="connsiteY7" fmla="*/ 585272 h 6857999"/>
              <a:gd name="connsiteX8" fmla="*/ 1769076 w 9154778"/>
              <a:gd name="connsiteY8" fmla="*/ 508490 h 6857999"/>
              <a:gd name="connsiteX9" fmla="*/ 508891 w 9154778"/>
              <a:gd name="connsiteY9" fmla="*/ 511425 h 6857999"/>
              <a:gd name="connsiteX0" fmla="*/ 0 w 9154778"/>
              <a:gd name="connsiteY0" fmla="*/ 0 h 6857999"/>
              <a:gd name="connsiteX1" fmla="*/ 9151400 w 9154778"/>
              <a:gd name="connsiteY1" fmla="*/ 0 h 6857999"/>
              <a:gd name="connsiteX2" fmla="*/ 9154778 w 9154778"/>
              <a:gd name="connsiteY2" fmla="*/ 6857999 h 6857999"/>
              <a:gd name="connsiteX3" fmla="*/ 0 w 9154778"/>
              <a:gd name="connsiteY3" fmla="*/ 6857999 h 6857999"/>
              <a:gd name="connsiteX4" fmla="*/ 0 w 9154778"/>
              <a:gd name="connsiteY4" fmla="*/ 0 h 6857999"/>
              <a:gd name="connsiteX5" fmla="*/ 508891 w 9154778"/>
              <a:gd name="connsiteY5" fmla="*/ 511425 h 6857999"/>
              <a:gd name="connsiteX6" fmla="*/ 511097 w 9154778"/>
              <a:gd name="connsiteY6" fmla="*/ 583270 h 6857999"/>
              <a:gd name="connsiteX7" fmla="*/ 1774181 w 9154778"/>
              <a:gd name="connsiteY7" fmla="*/ 585272 h 6857999"/>
              <a:gd name="connsiteX8" fmla="*/ 1769076 w 9154778"/>
              <a:gd name="connsiteY8" fmla="*/ 508490 h 6857999"/>
              <a:gd name="connsiteX9" fmla="*/ 508891 w 9154778"/>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54778" h="6857999">
                <a:moveTo>
                  <a:pt x="0" y="0"/>
                </a:moveTo>
                <a:lnTo>
                  <a:pt x="9151400" y="0"/>
                </a:lnTo>
                <a:lnTo>
                  <a:pt x="9154778" y="6857999"/>
                </a:lnTo>
                <a:lnTo>
                  <a:pt x="0" y="6857999"/>
                </a:lnTo>
                <a:lnTo>
                  <a:pt x="0" y="0"/>
                </a:lnTo>
                <a:close/>
                <a:moveTo>
                  <a:pt x="508891" y="511425"/>
                </a:moveTo>
                <a:cubicBezTo>
                  <a:pt x="509626" y="566329"/>
                  <a:pt x="510362" y="528366"/>
                  <a:pt x="511097" y="583270"/>
                </a:cubicBezTo>
                <a:lnTo>
                  <a:pt x="1774181" y="585272"/>
                </a:lnTo>
                <a:cubicBezTo>
                  <a:pt x="1771177" y="584735"/>
                  <a:pt x="1768022" y="508891"/>
                  <a:pt x="1769076" y="508490"/>
                </a:cubicBezTo>
                <a:cubicBezTo>
                  <a:pt x="1770130"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672727" y="728663"/>
            <a:ext cx="10846173"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mj-lt"/>
                <a:ea typeface="+mj-ea"/>
                <a:cs typeface="+mj-cs"/>
              </a:defRPr>
            </a:lvl1pPr>
          </a:lstStyle>
          <a:p>
            <a:pPr lvl="0" algn="l" defTabSz="914400" rtl="0" eaLnBrk="1" latinLnBrk="0" hangingPunct="1">
              <a:spcBef>
                <a:spcPct val="0"/>
              </a:spcBef>
              <a:buNone/>
            </a:pPr>
            <a:r>
              <a:rPr lang="en-US" noProof="0"/>
              <a:t>Click to edit Master title style</a:t>
            </a:r>
            <a:endParaRPr lang="en-GB" noProof="0" dirty="0"/>
          </a:p>
        </p:txBody>
      </p:sp>
      <p:sp>
        <p:nvSpPr>
          <p:cNvPr id="10" name="Content Placeholder 9"/>
          <p:cNvSpPr>
            <a:spLocks noGrp="1"/>
          </p:cNvSpPr>
          <p:nvPr>
            <p:ph sz="quarter" idx="11"/>
          </p:nvPr>
        </p:nvSpPr>
        <p:spPr>
          <a:xfrm>
            <a:off x="673101" y="1557339"/>
            <a:ext cx="10845800"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5"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69616866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73101" y="728663"/>
            <a:ext cx="1084580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673101" y="1557339"/>
            <a:ext cx="10845800"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9"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2"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243002282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sp>
        <p:nvSpPr>
          <p:cNvPr id="3" name="Picture Placeholder 2"/>
          <p:cNvSpPr>
            <a:spLocks noGrp="1"/>
          </p:cNvSpPr>
          <p:nvPr userDrawn="1">
            <p:ph type="pic" sz="quarter" idx="12"/>
          </p:nvPr>
        </p:nvSpPr>
        <p:spPr bwMode="auto">
          <a:xfrm>
            <a:off x="5077731" y="1015519"/>
            <a:ext cx="7115469" cy="5344822"/>
          </a:xfrm>
          <a:custGeom>
            <a:avLst/>
            <a:gdLst>
              <a:gd name="connsiteX0" fmla="*/ 0 w 7113204"/>
              <a:gd name="connsiteY0" fmla="*/ 0 h 5343523"/>
              <a:gd name="connsiteX1" fmla="*/ 7113204 w 7113204"/>
              <a:gd name="connsiteY1" fmla="*/ 0 h 5343523"/>
              <a:gd name="connsiteX2" fmla="*/ 7113204 w 7113204"/>
              <a:gd name="connsiteY2" fmla="*/ 5343523 h 5343523"/>
              <a:gd name="connsiteX3" fmla="*/ 0 w 7113204"/>
              <a:gd name="connsiteY3" fmla="*/ 5343523 h 5343523"/>
              <a:gd name="connsiteX4" fmla="*/ 0 w 7113204"/>
              <a:gd name="connsiteY4" fmla="*/ 0 h 5343523"/>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0 w 7113204"/>
              <a:gd name="connsiteY4" fmla="*/ 5343523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0 w 7113204"/>
              <a:gd name="connsiteY4" fmla="*/ 5343523 h 5344338"/>
              <a:gd name="connsiteX5" fmla="*/ 1802 w 7113204"/>
              <a:gd name="connsiteY5" fmla="*/ 4810262 h 5344338"/>
              <a:gd name="connsiteX6" fmla="*/ 0 w 7113204"/>
              <a:gd name="connsiteY6"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0 h 5344338"/>
              <a:gd name="connsiteX1" fmla="*/ 7113204 w 7113204"/>
              <a:gd name="connsiteY1" fmla="*/ 0 h 5344338"/>
              <a:gd name="connsiteX2" fmla="*/ 7113204 w 7113204"/>
              <a:gd name="connsiteY2" fmla="*/ 5343523 h 5344338"/>
              <a:gd name="connsiteX3" fmla="*/ 503508 w 7113204"/>
              <a:gd name="connsiteY3" fmla="*/ 5344338 h 5344338"/>
              <a:gd name="connsiteX4" fmla="*/ 1802 w 7113204"/>
              <a:gd name="connsiteY4" fmla="*/ 4810262 h 5344338"/>
              <a:gd name="connsiteX5" fmla="*/ 0 w 7113204"/>
              <a:gd name="connsiteY5" fmla="*/ 0 h 5344338"/>
              <a:gd name="connsiteX0" fmla="*/ 0 w 7113204"/>
              <a:gd name="connsiteY0" fmla="*/ 453 h 5344791"/>
              <a:gd name="connsiteX1" fmla="*/ 519692 w 7113204"/>
              <a:gd name="connsiteY1" fmla="*/ 0 h 5344791"/>
              <a:gd name="connsiteX2" fmla="*/ 7113204 w 7113204"/>
              <a:gd name="connsiteY2" fmla="*/ 453 h 5344791"/>
              <a:gd name="connsiteX3" fmla="*/ 7113204 w 7113204"/>
              <a:gd name="connsiteY3" fmla="*/ 5343976 h 5344791"/>
              <a:gd name="connsiteX4" fmla="*/ 503508 w 7113204"/>
              <a:gd name="connsiteY4" fmla="*/ 5344791 h 5344791"/>
              <a:gd name="connsiteX5" fmla="*/ 1802 w 7113204"/>
              <a:gd name="connsiteY5" fmla="*/ 4810715 h 5344791"/>
              <a:gd name="connsiteX6" fmla="*/ 0 w 7113204"/>
              <a:gd name="connsiteY6" fmla="*/ 453 h 5344791"/>
              <a:gd name="connsiteX0" fmla="*/ 39320 w 7152524"/>
              <a:gd name="connsiteY0" fmla="*/ 48299 h 5392637"/>
              <a:gd name="connsiteX1" fmla="*/ 559012 w 7152524"/>
              <a:gd name="connsiteY1" fmla="*/ 47846 h 5392637"/>
              <a:gd name="connsiteX2" fmla="*/ 7152524 w 7152524"/>
              <a:gd name="connsiteY2" fmla="*/ 48299 h 5392637"/>
              <a:gd name="connsiteX3" fmla="*/ 7152524 w 7152524"/>
              <a:gd name="connsiteY3" fmla="*/ 5391822 h 5392637"/>
              <a:gd name="connsiteX4" fmla="*/ 542828 w 7152524"/>
              <a:gd name="connsiteY4" fmla="*/ 5392637 h 5392637"/>
              <a:gd name="connsiteX5" fmla="*/ 41122 w 7152524"/>
              <a:gd name="connsiteY5" fmla="*/ 4858561 h 5392637"/>
              <a:gd name="connsiteX6" fmla="*/ 37076 w 7152524"/>
              <a:gd name="connsiteY6" fmla="*/ 496955 h 5392637"/>
              <a:gd name="connsiteX7" fmla="*/ 39320 w 7152524"/>
              <a:gd name="connsiteY7" fmla="*/ 48299 h 5392637"/>
              <a:gd name="connsiteX0" fmla="*/ 155497 w 7270945"/>
              <a:gd name="connsiteY0" fmla="*/ 497244 h 5392926"/>
              <a:gd name="connsiteX1" fmla="*/ 677433 w 7270945"/>
              <a:gd name="connsiteY1" fmla="*/ 48135 h 5392926"/>
              <a:gd name="connsiteX2" fmla="*/ 7270945 w 7270945"/>
              <a:gd name="connsiteY2" fmla="*/ 48588 h 5392926"/>
              <a:gd name="connsiteX3" fmla="*/ 7270945 w 7270945"/>
              <a:gd name="connsiteY3" fmla="*/ 5392111 h 5392926"/>
              <a:gd name="connsiteX4" fmla="*/ 661249 w 7270945"/>
              <a:gd name="connsiteY4" fmla="*/ 5392926 h 5392926"/>
              <a:gd name="connsiteX5" fmla="*/ 159543 w 7270945"/>
              <a:gd name="connsiteY5" fmla="*/ 4858850 h 5392926"/>
              <a:gd name="connsiteX6" fmla="*/ 155497 w 7270945"/>
              <a:gd name="connsiteY6" fmla="*/ 497244 h 5392926"/>
              <a:gd name="connsiteX0" fmla="*/ 155497 w 7270945"/>
              <a:gd name="connsiteY0" fmla="*/ 497244 h 5392926"/>
              <a:gd name="connsiteX1" fmla="*/ 677433 w 7270945"/>
              <a:gd name="connsiteY1" fmla="*/ 48135 h 5392926"/>
              <a:gd name="connsiteX2" fmla="*/ 7270945 w 7270945"/>
              <a:gd name="connsiteY2" fmla="*/ 48588 h 5392926"/>
              <a:gd name="connsiteX3" fmla="*/ 7270945 w 7270945"/>
              <a:gd name="connsiteY3" fmla="*/ 5392111 h 5392926"/>
              <a:gd name="connsiteX4" fmla="*/ 661249 w 7270945"/>
              <a:gd name="connsiteY4" fmla="*/ 5392926 h 5392926"/>
              <a:gd name="connsiteX5" fmla="*/ 159543 w 7270945"/>
              <a:gd name="connsiteY5" fmla="*/ 4858850 h 5392926"/>
              <a:gd name="connsiteX6" fmla="*/ 155497 w 7270945"/>
              <a:gd name="connsiteY6" fmla="*/ 497244 h 5392926"/>
              <a:gd name="connsiteX0" fmla="*/ 155497 w 7270945"/>
              <a:gd name="connsiteY0" fmla="*/ 497244 h 5392926"/>
              <a:gd name="connsiteX1" fmla="*/ 677433 w 7270945"/>
              <a:gd name="connsiteY1" fmla="*/ 48135 h 5392926"/>
              <a:gd name="connsiteX2" fmla="*/ 7270945 w 7270945"/>
              <a:gd name="connsiteY2" fmla="*/ 48588 h 5392926"/>
              <a:gd name="connsiteX3" fmla="*/ 7270945 w 7270945"/>
              <a:gd name="connsiteY3" fmla="*/ 5392111 h 5392926"/>
              <a:gd name="connsiteX4" fmla="*/ 661249 w 7270945"/>
              <a:gd name="connsiteY4" fmla="*/ 5392926 h 5392926"/>
              <a:gd name="connsiteX5" fmla="*/ 159543 w 7270945"/>
              <a:gd name="connsiteY5" fmla="*/ 4858850 h 5392926"/>
              <a:gd name="connsiteX6" fmla="*/ 155497 w 7270945"/>
              <a:gd name="connsiteY6" fmla="*/ 497244 h 5392926"/>
              <a:gd name="connsiteX0" fmla="*/ 155497 w 7270945"/>
              <a:gd name="connsiteY0" fmla="*/ 497244 h 5392926"/>
              <a:gd name="connsiteX1" fmla="*/ 677433 w 7270945"/>
              <a:gd name="connsiteY1" fmla="*/ 48135 h 5392926"/>
              <a:gd name="connsiteX2" fmla="*/ 7270945 w 7270945"/>
              <a:gd name="connsiteY2" fmla="*/ 48588 h 5392926"/>
              <a:gd name="connsiteX3" fmla="*/ 7270945 w 7270945"/>
              <a:gd name="connsiteY3" fmla="*/ 5392111 h 5392926"/>
              <a:gd name="connsiteX4" fmla="*/ 661249 w 7270945"/>
              <a:gd name="connsiteY4" fmla="*/ 5392926 h 5392926"/>
              <a:gd name="connsiteX5" fmla="*/ 159543 w 7270945"/>
              <a:gd name="connsiteY5" fmla="*/ 4858850 h 5392926"/>
              <a:gd name="connsiteX6" fmla="*/ 155497 w 7270945"/>
              <a:gd name="connsiteY6" fmla="*/ 497244 h 5392926"/>
              <a:gd name="connsiteX0" fmla="*/ 184805 w 7300253"/>
              <a:gd name="connsiteY0" fmla="*/ 449109 h 5344791"/>
              <a:gd name="connsiteX1" fmla="*/ 706741 w 7300253"/>
              <a:gd name="connsiteY1" fmla="*/ 0 h 5344791"/>
              <a:gd name="connsiteX2" fmla="*/ 7300253 w 7300253"/>
              <a:gd name="connsiteY2" fmla="*/ 453 h 5344791"/>
              <a:gd name="connsiteX3" fmla="*/ 7300253 w 7300253"/>
              <a:gd name="connsiteY3" fmla="*/ 5343976 h 5344791"/>
              <a:gd name="connsiteX4" fmla="*/ 690557 w 7300253"/>
              <a:gd name="connsiteY4" fmla="*/ 5344791 h 5344791"/>
              <a:gd name="connsiteX5" fmla="*/ 188851 w 7300253"/>
              <a:gd name="connsiteY5" fmla="*/ 4810715 h 5344791"/>
              <a:gd name="connsiteX6" fmla="*/ 184805 w 7300253"/>
              <a:gd name="connsiteY6" fmla="*/ 449109 h 5344791"/>
              <a:gd name="connsiteX0" fmla="*/ 155498 w 7270946"/>
              <a:gd name="connsiteY0" fmla="*/ 497244 h 5392926"/>
              <a:gd name="connsiteX1" fmla="*/ 677434 w 7270946"/>
              <a:gd name="connsiteY1" fmla="*/ 48135 h 5392926"/>
              <a:gd name="connsiteX2" fmla="*/ 7270946 w 7270946"/>
              <a:gd name="connsiteY2" fmla="*/ 48588 h 5392926"/>
              <a:gd name="connsiteX3" fmla="*/ 7270946 w 7270946"/>
              <a:gd name="connsiteY3" fmla="*/ 5392111 h 5392926"/>
              <a:gd name="connsiteX4" fmla="*/ 661250 w 7270946"/>
              <a:gd name="connsiteY4" fmla="*/ 5392926 h 5392926"/>
              <a:gd name="connsiteX5" fmla="*/ 159544 w 7270946"/>
              <a:gd name="connsiteY5" fmla="*/ 4858850 h 5392926"/>
              <a:gd name="connsiteX6" fmla="*/ 155498 w 7270946"/>
              <a:gd name="connsiteY6" fmla="*/ 497244 h 5392926"/>
              <a:gd name="connsiteX0" fmla="*/ 37199 w 7152647"/>
              <a:gd name="connsiteY0" fmla="*/ 527190 h 5422872"/>
              <a:gd name="connsiteX1" fmla="*/ 559135 w 7152647"/>
              <a:gd name="connsiteY1" fmla="*/ 78081 h 5422872"/>
              <a:gd name="connsiteX2" fmla="*/ 7152647 w 7152647"/>
              <a:gd name="connsiteY2" fmla="*/ 78534 h 5422872"/>
              <a:gd name="connsiteX3" fmla="*/ 7152647 w 7152647"/>
              <a:gd name="connsiteY3" fmla="*/ 5422057 h 5422872"/>
              <a:gd name="connsiteX4" fmla="*/ 542951 w 7152647"/>
              <a:gd name="connsiteY4" fmla="*/ 5422872 h 5422872"/>
              <a:gd name="connsiteX5" fmla="*/ 41245 w 7152647"/>
              <a:gd name="connsiteY5" fmla="*/ 4888796 h 5422872"/>
              <a:gd name="connsiteX6" fmla="*/ 37199 w 7152647"/>
              <a:gd name="connsiteY6" fmla="*/ 527190 h 5422872"/>
              <a:gd name="connsiteX0" fmla="*/ 27 w 7115475"/>
              <a:gd name="connsiteY0" fmla="*/ 522980 h 5418662"/>
              <a:gd name="connsiteX1" fmla="*/ 521963 w 7115475"/>
              <a:gd name="connsiteY1" fmla="*/ 73871 h 5418662"/>
              <a:gd name="connsiteX2" fmla="*/ 7115475 w 7115475"/>
              <a:gd name="connsiteY2" fmla="*/ 74324 h 5418662"/>
              <a:gd name="connsiteX3" fmla="*/ 7115475 w 7115475"/>
              <a:gd name="connsiteY3" fmla="*/ 5417847 h 5418662"/>
              <a:gd name="connsiteX4" fmla="*/ 505779 w 7115475"/>
              <a:gd name="connsiteY4" fmla="*/ 5418662 h 5418662"/>
              <a:gd name="connsiteX5" fmla="*/ 4073 w 7115475"/>
              <a:gd name="connsiteY5" fmla="*/ 4884586 h 5418662"/>
              <a:gd name="connsiteX6" fmla="*/ 27 w 7115475"/>
              <a:gd name="connsiteY6" fmla="*/ 522980 h 5418662"/>
              <a:gd name="connsiteX0" fmla="*/ 161 w 7115609"/>
              <a:gd name="connsiteY0" fmla="*/ 449127 h 5344809"/>
              <a:gd name="connsiteX1" fmla="*/ 522097 w 7115609"/>
              <a:gd name="connsiteY1" fmla="*/ 18 h 5344809"/>
              <a:gd name="connsiteX2" fmla="*/ 7115609 w 7115609"/>
              <a:gd name="connsiteY2" fmla="*/ 471 h 5344809"/>
              <a:gd name="connsiteX3" fmla="*/ 7115609 w 7115609"/>
              <a:gd name="connsiteY3" fmla="*/ 5343994 h 5344809"/>
              <a:gd name="connsiteX4" fmla="*/ 505913 w 7115609"/>
              <a:gd name="connsiteY4" fmla="*/ 5344809 h 5344809"/>
              <a:gd name="connsiteX5" fmla="*/ 4207 w 7115609"/>
              <a:gd name="connsiteY5" fmla="*/ 4810733 h 5344809"/>
              <a:gd name="connsiteX6" fmla="*/ 161 w 7115609"/>
              <a:gd name="connsiteY6" fmla="*/ 449127 h 5344809"/>
              <a:gd name="connsiteX0" fmla="*/ 196 w 7115644"/>
              <a:gd name="connsiteY0" fmla="*/ 449124 h 5344806"/>
              <a:gd name="connsiteX1" fmla="*/ 522132 w 7115644"/>
              <a:gd name="connsiteY1" fmla="*/ 15 h 5344806"/>
              <a:gd name="connsiteX2" fmla="*/ 7115644 w 7115644"/>
              <a:gd name="connsiteY2" fmla="*/ 468 h 5344806"/>
              <a:gd name="connsiteX3" fmla="*/ 7115644 w 7115644"/>
              <a:gd name="connsiteY3" fmla="*/ 5343991 h 5344806"/>
              <a:gd name="connsiteX4" fmla="*/ 505948 w 7115644"/>
              <a:gd name="connsiteY4" fmla="*/ 5344806 h 5344806"/>
              <a:gd name="connsiteX5" fmla="*/ 4242 w 7115644"/>
              <a:gd name="connsiteY5" fmla="*/ 4810730 h 5344806"/>
              <a:gd name="connsiteX6" fmla="*/ 196 w 7115644"/>
              <a:gd name="connsiteY6" fmla="*/ 449124 h 5344806"/>
              <a:gd name="connsiteX0" fmla="*/ 196 w 7115644"/>
              <a:gd name="connsiteY0" fmla="*/ 449132 h 5344814"/>
              <a:gd name="connsiteX1" fmla="*/ 522132 w 7115644"/>
              <a:gd name="connsiteY1" fmla="*/ 23 h 5344814"/>
              <a:gd name="connsiteX2" fmla="*/ 7115644 w 7115644"/>
              <a:gd name="connsiteY2" fmla="*/ 476 h 5344814"/>
              <a:gd name="connsiteX3" fmla="*/ 7115644 w 7115644"/>
              <a:gd name="connsiteY3" fmla="*/ 5343999 h 5344814"/>
              <a:gd name="connsiteX4" fmla="*/ 505948 w 7115644"/>
              <a:gd name="connsiteY4" fmla="*/ 5344814 h 5344814"/>
              <a:gd name="connsiteX5" fmla="*/ 4242 w 7115644"/>
              <a:gd name="connsiteY5" fmla="*/ 4810738 h 5344814"/>
              <a:gd name="connsiteX6" fmla="*/ 196 w 7115644"/>
              <a:gd name="connsiteY6" fmla="*/ 449132 h 5344814"/>
              <a:gd name="connsiteX0" fmla="*/ 21 w 7115469"/>
              <a:gd name="connsiteY0" fmla="*/ 449140 h 5344822"/>
              <a:gd name="connsiteX1" fmla="*/ 521957 w 7115469"/>
              <a:gd name="connsiteY1" fmla="*/ 31 h 5344822"/>
              <a:gd name="connsiteX2" fmla="*/ 7115469 w 7115469"/>
              <a:gd name="connsiteY2" fmla="*/ 484 h 5344822"/>
              <a:gd name="connsiteX3" fmla="*/ 7115469 w 7115469"/>
              <a:gd name="connsiteY3" fmla="*/ 5344007 h 5344822"/>
              <a:gd name="connsiteX4" fmla="*/ 505773 w 7115469"/>
              <a:gd name="connsiteY4" fmla="*/ 5344822 h 5344822"/>
              <a:gd name="connsiteX5" fmla="*/ 4067 w 7115469"/>
              <a:gd name="connsiteY5" fmla="*/ 4810746 h 5344822"/>
              <a:gd name="connsiteX6" fmla="*/ 21 w 7115469"/>
              <a:gd name="connsiteY6" fmla="*/ 449140 h 534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5469" h="5344822">
                <a:moveTo>
                  <a:pt x="21" y="449140"/>
                </a:moveTo>
                <a:cubicBezTo>
                  <a:pt x="-2303" y="101747"/>
                  <a:pt x="197851" y="-2068"/>
                  <a:pt x="521957" y="31"/>
                </a:cubicBezTo>
                <a:lnTo>
                  <a:pt x="7115469" y="484"/>
                </a:lnTo>
                <a:lnTo>
                  <a:pt x="7115469" y="5344007"/>
                </a:lnTo>
                <a:lnTo>
                  <a:pt x="505773" y="5344822"/>
                </a:lnTo>
                <a:cubicBezTo>
                  <a:pt x="180743" y="5344822"/>
                  <a:pt x="1369" y="5166796"/>
                  <a:pt x="4067" y="4810746"/>
                </a:cubicBezTo>
                <a:cubicBezTo>
                  <a:pt x="4741" y="4820187"/>
                  <a:pt x="2345" y="796533"/>
                  <a:pt x="21" y="449140"/>
                </a:cubicBezTo>
                <a:close/>
              </a:path>
            </a:pathLst>
          </a:custGeom>
          <a:noFill/>
          <a:ln w="9525" algn="ctr">
            <a:noFill/>
            <a:miter lim="800000"/>
            <a:headEnd/>
            <a:tailEnd/>
          </a:ln>
        </p:spPr>
        <p:txBody>
          <a:bodyPr/>
          <a:lstStyle>
            <a:lvl1pPr>
              <a:defRPr sz="2133"/>
            </a:lvl1pPr>
          </a:lstStyle>
          <a:p>
            <a:r>
              <a:rPr lang="en-GB"/>
              <a:t>Click icon to add picture</a:t>
            </a:r>
            <a:endParaRPr lang="en-GB" dirty="0"/>
          </a:p>
        </p:txBody>
      </p:sp>
      <p:sp>
        <p:nvSpPr>
          <p:cNvPr id="107" name="Rectangle 6" descr="Rectangle 6"/>
          <p:cNvSpPr>
            <a:spLocks noGrp="1" noChangeArrowheads="1"/>
          </p:cNvSpPr>
          <p:nvPr userDrawn="1">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userDrawn="1">
            <p:ph type="ctrTitle"/>
          </p:nvPr>
        </p:nvSpPr>
        <p:spPr>
          <a:xfrm>
            <a:off x="766800" y="2286000"/>
            <a:ext cx="4141630" cy="1386000"/>
          </a:xfrm>
          <a:noFill/>
        </p:spPr>
        <p:txBody>
          <a:bodyPr lIns="0" tIns="0" rIns="0" anchor="b" anchorCtr="0"/>
          <a:lstStyle>
            <a:lvl1pPr>
              <a:lnSpc>
                <a:spcPct val="110000"/>
              </a:lnSpc>
              <a:defRPr sz="3600" b="0" kern="1200" cap="none" spc="0" baseline="0">
                <a:solidFill>
                  <a:schemeClr val="tx1"/>
                </a:solidFill>
                <a:latin typeface="+mj-lt"/>
                <a:cs typeface="Arial" pitchFamily="34" charset="0"/>
              </a:defRPr>
            </a:lvl1pPr>
          </a:lstStyle>
          <a:p>
            <a:r>
              <a:rPr lang="en-GB"/>
              <a:t>Click to edit Master title style</a:t>
            </a:r>
            <a:endParaRPr lang="en-GB" dirty="0"/>
          </a:p>
        </p:txBody>
      </p:sp>
      <p:sp>
        <p:nvSpPr>
          <p:cNvPr id="103" name="Rectangle 3"/>
          <p:cNvSpPr>
            <a:spLocks noGrp="1" noChangeArrowheads="1"/>
          </p:cNvSpPr>
          <p:nvPr userDrawn="1">
            <p:ph type="subTitle" idx="1"/>
          </p:nvPr>
        </p:nvSpPr>
        <p:spPr>
          <a:xfrm>
            <a:off x="766800" y="3805199"/>
            <a:ext cx="4036789" cy="748800"/>
          </a:xfrm>
        </p:spPr>
        <p:txBody>
          <a:bodyPr anchor="t" anchorCtr="0"/>
          <a:lstStyle>
            <a:lvl1pPr marL="0" indent="0">
              <a:lnSpc>
                <a:spcPct val="100000"/>
              </a:lnSpc>
              <a:spcBef>
                <a:spcPct val="0"/>
              </a:spcBef>
              <a:spcAft>
                <a:spcPts val="0"/>
              </a:spcAft>
              <a:buFont typeface="Wingdings" pitchFamily="2" charset="2"/>
              <a:buNone/>
              <a:defRPr sz="2000" baseline="0">
                <a:solidFill>
                  <a:schemeClr val="tx1"/>
                </a:solidFill>
                <a:latin typeface="+mn-lt"/>
                <a:cs typeface="Arial" pitchFamily="34" charset="0"/>
              </a:defRPr>
            </a:lvl1pPr>
          </a:lstStyle>
          <a:p>
            <a:r>
              <a:rPr lang="en-GB"/>
              <a:t>Click to edit Master subtitle style</a:t>
            </a:r>
            <a:endParaRPr lang="en-GB" dirty="0"/>
          </a:p>
        </p:txBody>
      </p:sp>
      <p:sp>
        <p:nvSpPr>
          <p:cNvPr id="104" name="Text Placeholder 31"/>
          <p:cNvSpPr>
            <a:spLocks noGrp="1"/>
          </p:cNvSpPr>
          <p:nvPr userDrawn="1">
            <p:ph type="body" sz="quarter" idx="10" hasCustomPrompt="1"/>
          </p:nvPr>
        </p:nvSpPr>
        <p:spPr>
          <a:xfrm>
            <a:off x="766800" y="4831200"/>
            <a:ext cx="4043018"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dirty="0"/>
              <a:t>Click to insert Author’s Name</a:t>
            </a:r>
          </a:p>
        </p:txBody>
      </p:sp>
      <p:sp>
        <p:nvSpPr>
          <p:cNvPr id="105" name="Text Placeholder 31"/>
          <p:cNvSpPr>
            <a:spLocks noGrp="1"/>
          </p:cNvSpPr>
          <p:nvPr userDrawn="1">
            <p:ph type="body" sz="quarter" idx="11" hasCustomPrompt="1"/>
          </p:nvPr>
        </p:nvSpPr>
        <p:spPr>
          <a:xfrm>
            <a:off x="766800" y="5083200"/>
            <a:ext cx="4043018" cy="489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noProof="1"/>
              <a:t>Click to insert Role in Organisation</a:t>
            </a:r>
          </a:p>
        </p:txBody>
      </p:sp>
      <p:sp>
        <p:nvSpPr>
          <p:cNvPr id="90" name="Rectangle 4" descr="Rectangle 4"/>
          <p:cNvSpPr>
            <a:spLocks noGrp="1" noChangeArrowheads="1"/>
          </p:cNvSpPr>
          <p:nvPr userDrawn="1">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88" name="Rectangle 5"/>
          <p:cNvSpPr>
            <a:spLocks noGrp="1" noChangeArrowheads="1"/>
          </p:cNvSpPr>
          <p:nvPr userDrawn="1">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SPDC</a:t>
            </a:r>
          </a:p>
        </p:txBody>
      </p:sp>
      <p:sp>
        <p:nvSpPr>
          <p:cNvPr id="2" name="TextBox 1" descr="CONFIDENTIAL_TAG_0xFFEE">
            <a:extLst>
              <a:ext uri="{FF2B5EF4-FFF2-40B4-BE49-F238E27FC236}">
                <a16:creationId xmlns:a16="http://schemas.microsoft.com/office/drawing/2014/main" id="{34D2006C-E4E9-2A72-222B-75EB4DF6ABA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3755712602"/>
      </p:ext>
    </p:extLst>
  </p:cSld>
  <p:clrMapOvr>
    <a:masterClrMapping/>
  </p:clrMapOvr>
  <p:transition/>
  <p:hf hdr="0"/>
  <p:extLst>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guide id="3" orient="horz" pos="2562" userDrawn="1">
          <p15:clr>
            <a:srgbClr val="FBAE40"/>
          </p15:clr>
        </p15:guide>
        <p15:guide id="4" orient="horz" pos="299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73101" y="728663"/>
            <a:ext cx="1084580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673101" y="1557339"/>
            <a:ext cx="10845800" cy="4694237"/>
          </a:xfrm>
        </p:spPr>
        <p:txBody>
          <a:bodyPr/>
          <a:lstStyle>
            <a:lvl1pPr marL="0" indent="0" defTabSz="268288">
              <a:lnSpc>
                <a:spcPct val="140000"/>
              </a:lnSpc>
              <a:spcBef>
                <a:spcPts val="0"/>
              </a:spcBef>
              <a:spcAft>
                <a:spcPts val="0"/>
              </a:spcAft>
              <a:defRPr sz="1600"/>
            </a:lvl1pPr>
            <a:lvl2pPr marL="216000" indent="-216000" defTabSz="268288">
              <a:lnSpc>
                <a:spcPct val="140000"/>
              </a:lnSpc>
              <a:spcBef>
                <a:spcPts val="0"/>
              </a:spcBef>
              <a:spcAft>
                <a:spcPts val="0"/>
              </a:spcAft>
              <a:defRPr sz="1600"/>
            </a:lvl2pPr>
            <a:lvl3pPr marL="410400" indent="-194400" defTabSz="268288">
              <a:lnSpc>
                <a:spcPct val="140000"/>
              </a:lnSpc>
              <a:spcBef>
                <a:spcPts val="0"/>
              </a:spcBef>
              <a:spcAft>
                <a:spcPts val="0"/>
              </a:spcAft>
              <a:buClr>
                <a:schemeClr val="tx1"/>
              </a:buClr>
              <a:buSzPct val="75000"/>
              <a:buFont typeface="Wingdings" pitchFamily="2" charset="2"/>
              <a:buChar char=""/>
              <a:defRPr sz="1600"/>
            </a:lvl3pPr>
            <a:lvl4pPr marL="576000" indent="-187200" defTabSz="268288">
              <a:lnSpc>
                <a:spcPct val="140000"/>
              </a:lnSpc>
              <a:spcBef>
                <a:spcPts val="0"/>
              </a:spcBef>
              <a:spcAft>
                <a:spcPts val="0"/>
              </a:spcAft>
              <a:buClr>
                <a:schemeClr val="tx1"/>
              </a:buClr>
              <a:buSzPct val="75000"/>
              <a:buFont typeface="Wingdings" pitchFamily="2" charset="2"/>
              <a:buChar char=""/>
              <a:defRPr sz="1600"/>
            </a:lvl4pPr>
            <a:lvl5pPr marL="766800" indent="-154800" defTabSz="268288">
              <a:lnSpc>
                <a:spcPct val="140000"/>
              </a:lnSpc>
              <a:spcBef>
                <a:spcPts val="0"/>
              </a:spcBef>
              <a:spcAft>
                <a:spcPts val="0"/>
              </a:spcAft>
              <a:buClr>
                <a:schemeClr val="tx1"/>
              </a:buClr>
              <a:buSzPct val="75000"/>
              <a:buFont typeface="Wingdings" pitchFamily="2" charset="2"/>
              <a:buChar char=""/>
              <a:defRPr sz="1400"/>
            </a:lvl5pPr>
            <a:lvl6pPr marL="914400" indent="-144000" defTabSz="268288">
              <a:lnSpc>
                <a:spcPct val="140000"/>
              </a:lnSpc>
              <a:spcAft>
                <a:spcPts val="0"/>
              </a:spcAft>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9"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2"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607176142"/>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73101" y="728663"/>
            <a:ext cx="10842932"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mj-lt"/>
                <a:ea typeface="+mj-ea"/>
                <a:cs typeface="+mj-cs"/>
              </a:defRPr>
            </a:lvl1pPr>
          </a:lstStyle>
          <a:p>
            <a:pPr lvl="0" algn="l" defTabSz="914400" rtl="0" eaLnBrk="1" latinLnBrk="0" hangingPunct="1">
              <a:spcBef>
                <a:spcPct val="0"/>
              </a:spcBef>
              <a:buNone/>
            </a:pPr>
            <a:r>
              <a:rPr lang="en-US"/>
              <a:t>Click to edit Master title style</a:t>
            </a:r>
            <a:endParaRPr lang="en-GB" dirty="0"/>
          </a:p>
        </p:txBody>
      </p:sp>
      <p:sp>
        <p:nvSpPr>
          <p:cNvPr id="10" name="Content Placeholder 14"/>
          <p:cNvSpPr>
            <a:spLocks noGrp="1"/>
          </p:cNvSpPr>
          <p:nvPr>
            <p:ph sz="quarter" idx="13"/>
          </p:nvPr>
        </p:nvSpPr>
        <p:spPr>
          <a:xfrm>
            <a:off x="6288617" y="1557339"/>
            <a:ext cx="5230283" cy="4694236"/>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673101" y="1557339"/>
            <a:ext cx="5230284"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3"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4"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88555613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73102" y="728663"/>
            <a:ext cx="10845799"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dirty="0" smtClean="0">
                <a:solidFill>
                  <a:schemeClr val="tx1"/>
                </a:solidFill>
                <a:latin typeface="+mj-lt"/>
                <a:ea typeface="+mj-ea"/>
                <a:cs typeface="+mj-cs"/>
              </a:defRPr>
            </a:lvl1pPr>
          </a:lstStyle>
          <a:p>
            <a:pPr lvl="0" algn="l" defTabSz="914400" rtl="0" eaLnBrk="1" latinLnBrk="0" hangingPunct="1">
              <a:spcBef>
                <a:spcPct val="0"/>
              </a:spcBef>
              <a:buNone/>
            </a:pPr>
            <a:r>
              <a:rPr lang="en-US"/>
              <a:t>Click to edit Master title style</a:t>
            </a:r>
            <a:endParaRPr lang="en-GB" dirty="0"/>
          </a:p>
        </p:txBody>
      </p:sp>
      <p:sp>
        <p:nvSpPr>
          <p:cNvPr id="10" name="Content Placeholder 14"/>
          <p:cNvSpPr>
            <a:spLocks noGrp="1"/>
          </p:cNvSpPr>
          <p:nvPr>
            <p:ph sz="quarter" idx="13"/>
          </p:nvPr>
        </p:nvSpPr>
        <p:spPr>
          <a:xfrm>
            <a:off x="6288619" y="1557339"/>
            <a:ext cx="5230283"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673101" y="1557339"/>
            <a:ext cx="5230284"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vl2pPr>
              <a:defRPr lang="en-GB" dirty="0" smtClean="0"/>
            </a:lvl2pPr>
            <a:lvl3pPr>
              <a:defRPr lang="en-GB" dirty="0" smtClean="0"/>
            </a:lvl3pPr>
            <a:lvl4pPr>
              <a:defRPr lang="en-GB" dirty="0" smtClean="0"/>
            </a:lvl4pPr>
            <a:lvl5pPr>
              <a:defRPr lang="en-GB" dirty="0" smtClean="0"/>
            </a:lvl5pPr>
            <a:lvl6pPr>
              <a:defRPr lang="en-GB"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3"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530512233"/>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73101" y="728663"/>
            <a:ext cx="1084580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88617" y="1557339"/>
            <a:ext cx="5230283"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US" sz="1600" dirty="0" smtClean="0"/>
            </a:lvl1pPr>
            <a:lvl2pPr>
              <a:defRPr lang="en-US" sz="1600" dirty="0" smtClean="0"/>
            </a:lvl2pPr>
            <a:lvl3pPr>
              <a:defRPr lang="en-US" sz="1600" dirty="0" smtClean="0"/>
            </a:lvl3pPr>
            <a:lvl4pPr>
              <a:defRPr lang="en-US" sz="1600" dirty="0" smtClean="0"/>
            </a:lvl4pPr>
            <a:lvl5pPr>
              <a:defRPr lang="en-US" sz="1400" dirty="0" smtClean="0"/>
            </a:lvl5pPr>
            <a:lvl6pPr>
              <a:defRPr lang="en-US" sz="1200"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673100" y="1557339"/>
            <a:ext cx="5230285" cy="4694237"/>
          </a:xfrm>
          <a:noFill/>
          <a:ln w="9525" algn="ctr">
            <a:noFill/>
            <a:miter lim="800000"/>
            <a:headEnd/>
            <a:tailEnd/>
          </a:ln>
        </p:spPr>
        <p:txBody>
          <a:bodyPr vert="horz" wrap="square" lIns="0" tIns="0" rIns="0" bIns="0" numCol="1" anchor="t" anchorCtr="0" compatLnSpc="1">
            <a:prstTxWarp prst="textNoShape">
              <a:avLst/>
            </a:prstTxWarp>
          </a:bodyPr>
          <a:lstStyle>
            <a:lvl1pPr>
              <a:defRPr lang="en-GB" sz="1600" dirty="0" smtClean="0"/>
            </a:lvl1pPr>
            <a:lvl2pPr>
              <a:defRPr lang="en-GB" sz="1600" dirty="0" smtClean="0"/>
            </a:lvl2pPr>
            <a:lvl3pPr>
              <a:defRPr lang="en-GB" sz="1600" dirty="0" smtClean="0"/>
            </a:lvl3pPr>
            <a:lvl4pPr>
              <a:defRPr lang="en-GB" sz="1600" dirty="0" smtClean="0"/>
            </a:lvl4pPr>
            <a:lvl5pPr>
              <a:defRPr lang="en-GB" sz="1400" dirty="0" smtClean="0"/>
            </a:lvl5pPr>
            <a:lvl6pPr>
              <a:defRPr lang="en-GB" sz="1200" dirty="0" smtClean="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3"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1740343227"/>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672001" y="6150324"/>
            <a:ext cx="10824855" cy="147993"/>
          </a:xfrm>
        </p:spPr>
        <p:txBody>
          <a:bodyPr wrap="square">
            <a:noAutofit/>
          </a:bodyPr>
          <a:lstStyle>
            <a:lvl1pPr>
              <a:defRPr sz="700"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673101" y="728663"/>
            <a:ext cx="10842932"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672001" y="4267484"/>
            <a:ext cx="5209337" cy="20403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672001" y="3932522"/>
            <a:ext cx="5209337" cy="202235"/>
          </a:xfrm>
        </p:spPr>
        <p:txBody>
          <a:bodyPr vert="horz" wrap="square" lIns="0" tIns="0" rIns="0" bIns="0" rtlCol="0">
            <a:spAutoFit/>
          </a:bodyPr>
          <a:lstStyle>
            <a:lvl1pPr>
              <a:defRPr lang="nl-NL" sz="1200" kern="1200" cap="none"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flipV="1">
            <a:off x="672001" y="4209292"/>
            <a:ext cx="5209337" cy="1836"/>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672001" y="4524140"/>
            <a:ext cx="5209337" cy="1606497"/>
          </a:xfrm>
        </p:spPr>
        <p:txBody>
          <a:bodyPr>
            <a:normAutofit/>
          </a:bodyPr>
          <a:lstStyle>
            <a:lvl1pPr>
              <a:defRPr sz="12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a:off x="672001" y="6032737"/>
            <a:ext cx="5209337" cy="367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672001" y="1905335"/>
            <a:ext cx="5209337" cy="20403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672001" y="1570373"/>
            <a:ext cx="5209337" cy="202235"/>
          </a:xfrm>
        </p:spPr>
        <p:txBody>
          <a:bodyPr vert="horz" wrap="square" lIns="0" tIns="0" rIns="0" bIns="0" rtlCol="0">
            <a:spAutoFit/>
          </a:bodyPr>
          <a:lstStyle>
            <a:lvl1pPr>
              <a:defRPr lang="nl-NL" sz="1200" kern="1200" cap="none"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flipV="1">
            <a:off x="672001" y="1847143"/>
            <a:ext cx="5209337" cy="1836"/>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672001" y="2161991"/>
            <a:ext cx="5209337" cy="1606497"/>
          </a:xfrm>
        </p:spPr>
        <p:txBody>
          <a:bodyPr>
            <a:normAutofit/>
          </a:bodyPr>
          <a:lstStyle>
            <a:lvl1pPr>
              <a:defRPr sz="12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a:off x="672001" y="3670588"/>
            <a:ext cx="5209337" cy="367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87740" y="4267484"/>
            <a:ext cx="5231161" cy="20403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87740" y="3932522"/>
            <a:ext cx="5231161" cy="202235"/>
          </a:xfrm>
        </p:spPr>
        <p:txBody>
          <a:bodyPr vert="horz" wrap="square" lIns="0" tIns="0" rIns="0" bIns="0" rtlCol="0">
            <a:spAutoFit/>
          </a:bodyPr>
          <a:lstStyle>
            <a:lvl1pPr>
              <a:defRPr lang="nl-NL" sz="1200" kern="1200" cap="none"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flipV="1">
            <a:off x="6287740" y="4209292"/>
            <a:ext cx="5231161" cy="1836"/>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87740" y="4524140"/>
            <a:ext cx="5231161" cy="1606497"/>
          </a:xfrm>
        </p:spPr>
        <p:txBody>
          <a:bodyPr>
            <a:normAutofit/>
          </a:bodyPr>
          <a:lstStyle>
            <a:lvl1pPr>
              <a:defRPr sz="12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a:off x="6287740" y="6032737"/>
            <a:ext cx="5231161" cy="367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87740" y="1905335"/>
            <a:ext cx="5231161" cy="20403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87740" y="1570373"/>
            <a:ext cx="5231161" cy="202235"/>
          </a:xfrm>
        </p:spPr>
        <p:txBody>
          <a:bodyPr vert="horz" wrap="square" lIns="0" tIns="0" rIns="0" bIns="0" rtlCol="0">
            <a:spAutoFit/>
          </a:bodyPr>
          <a:lstStyle>
            <a:lvl1pPr>
              <a:defRPr lang="nl-NL" sz="1200" kern="1200" cap="none"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flipV="1">
            <a:off x="6287740" y="1847143"/>
            <a:ext cx="5231161" cy="1836"/>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87740" y="2161991"/>
            <a:ext cx="5231161" cy="1606497"/>
          </a:xfrm>
        </p:spPr>
        <p:txBody>
          <a:bodyPr>
            <a:normAutofit/>
          </a:bodyPr>
          <a:lstStyle>
            <a:lvl1pPr>
              <a:defRPr sz="12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6287740" y="3670588"/>
            <a:ext cx="5231161" cy="367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3"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34"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265070570"/>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2" y="4313785"/>
            <a:ext cx="12191999"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bg1"/>
              </a:solidFill>
            </a:endParaRPr>
          </a:p>
        </p:txBody>
      </p:sp>
      <p:sp>
        <p:nvSpPr>
          <p:cNvPr id="18" name="Title 1"/>
          <p:cNvSpPr>
            <a:spLocks noGrp="1"/>
          </p:cNvSpPr>
          <p:nvPr>
            <p:ph type="title"/>
          </p:nvPr>
        </p:nvSpPr>
        <p:spPr>
          <a:xfrm>
            <a:off x="1015981" y="2638196"/>
            <a:ext cx="4887403" cy="13608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MY" sz="1400" dirty="0"/>
            </a:lvl1pPr>
          </a:lstStyle>
          <a:p>
            <a:pPr lvl="0" defTabSz="1219170">
              <a:lnSpc>
                <a:spcPct val="100000"/>
              </a:lnSpc>
            </a:pPr>
            <a:r>
              <a:rPr lang="en-US"/>
              <a:t>Click to edit Master title style</a:t>
            </a:r>
            <a:endParaRPr lang="en-GB" dirty="0"/>
          </a:p>
        </p:txBody>
      </p:sp>
      <p:sp>
        <p:nvSpPr>
          <p:cNvPr id="25" name="Text Placeholder 2"/>
          <p:cNvSpPr>
            <a:spLocks noGrp="1"/>
          </p:cNvSpPr>
          <p:nvPr>
            <p:ph type="body" idx="1"/>
          </p:nvPr>
        </p:nvSpPr>
        <p:spPr>
          <a:xfrm>
            <a:off x="1015981" y="1699351"/>
            <a:ext cx="10502919" cy="8208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800" b="0" cap="none" dirty="0" smtClean="0">
                <a:latin typeface="+mj-lt"/>
              </a:defRPr>
            </a:lvl1pPr>
          </a:lstStyle>
          <a:p>
            <a:pPr lvl="0" defTabSz="357708">
              <a:lnSpc>
                <a:spcPct val="100000"/>
              </a:lnSpc>
            </a:pPr>
            <a:r>
              <a:rPr lang="en-US"/>
              <a:t>Click to edit Master text styles</a:t>
            </a:r>
          </a:p>
        </p:txBody>
      </p:sp>
      <p:sp>
        <p:nvSpPr>
          <p:cNvPr id="34" name="Text Placeholder 13"/>
          <p:cNvSpPr>
            <a:spLocks noGrp="1"/>
          </p:cNvSpPr>
          <p:nvPr>
            <p:ph type="body" sz="quarter" idx="13" hasCustomPrompt="1"/>
          </p:nvPr>
        </p:nvSpPr>
        <p:spPr bwMode="gray">
          <a:xfrm>
            <a:off x="6288617" y="2638698"/>
            <a:ext cx="5216427" cy="2207623"/>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r">
              <a:lnSpc>
                <a:spcPct val="95000"/>
              </a:lnSpc>
              <a:defRPr lang="en-GB" sz="17000" kern="10000" spc="-1000" dirty="0">
                <a:ln w="3175">
                  <a:noFill/>
                </a:ln>
                <a:solidFill>
                  <a:schemeClr val="accent1"/>
                </a:solidFill>
                <a:latin typeface="Futura Bold"/>
                <a:ea typeface="Arial" charset="0"/>
                <a:cs typeface="Futura Bold"/>
              </a:defRPr>
            </a:lvl1pPr>
          </a:lstStyle>
          <a:p>
            <a:pPr lvl="0" algn="r" defTabSz="1219170">
              <a:lnSpc>
                <a:spcPct val="100000"/>
              </a:lnSpc>
              <a:buClr>
                <a:srgbClr val="DD1D21"/>
              </a:buClr>
              <a:tabLst>
                <a:tab pos="1081088" algn="l"/>
              </a:tabLst>
            </a:pPr>
            <a:r>
              <a:rPr lang="en-GB" dirty="0"/>
              <a:t>0.0</a:t>
            </a:r>
          </a:p>
        </p:txBody>
      </p:sp>
      <p:sp>
        <p:nvSpPr>
          <p:cNvPr id="12"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7"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
        <p:nvSpPr>
          <p:cNvPr id="20" name="Rectangle 19"/>
          <p:cNvSpPr/>
          <p:nvPr userDrawn="1"/>
        </p:nvSpPr>
        <p:spPr bwMode="gray">
          <a:xfrm>
            <a:off x="1015981" y="1524000"/>
            <a:ext cx="1693312"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p>
        </p:txBody>
      </p:sp>
      <p:sp>
        <p:nvSpPr>
          <p:cNvPr id="22" name="Text Box 11" descr="&lt;COMPANY_NAME&gt;" title="&lt;COMPANY_NAME&gt;"/>
          <p:cNvSpPr txBox="1">
            <a:spLocks noChangeArrowheads="1"/>
          </p:cNvSpPr>
          <p:nvPr userDrawn="1"/>
        </p:nvSpPr>
        <p:spPr bwMode="auto">
          <a:xfrm>
            <a:off x="677186" y="6478119"/>
            <a:ext cx="3047405" cy="237744"/>
          </a:xfrm>
          <a:prstGeom prst="rect">
            <a:avLst/>
          </a:prstGeom>
          <a:noFill/>
          <a:ln w="9525" algn="ctr">
            <a:noFill/>
            <a:miter lim="800000"/>
            <a:headEnd/>
            <a:tailEnd/>
          </a:ln>
          <a:effectLst/>
        </p:spPr>
        <p:txBody>
          <a:bodyPr wrap="none" lIns="0" tIns="0" rIns="0" anchor="t" anchorCtr="0">
            <a:noAutofit/>
          </a:bodyPr>
          <a:lstStyle/>
          <a:p>
            <a:pPr>
              <a:defRPr/>
            </a:pPr>
            <a:r>
              <a:rPr lang="en-US" sz="800" dirty="0">
                <a:solidFill>
                  <a:schemeClr val="tx1"/>
                </a:solidFill>
                <a:latin typeface="+mn-lt"/>
                <a:cs typeface="Arial" pitchFamily="34" charset="0"/>
              </a:rPr>
              <a:t>Copyright of Shell Petroleum and Development Company</a:t>
            </a:r>
            <a:endParaRPr lang="en-GB" sz="800" dirty="0">
              <a:solidFill>
                <a:schemeClr val="tx1"/>
              </a:solidFill>
              <a:latin typeface="+mn-lt"/>
              <a:cs typeface="Arial" pitchFamily="34" charset="0"/>
            </a:endParaRPr>
          </a:p>
        </p:txBody>
      </p:sp>
    </p:spTree>
    <p:extLst>
      <p:ext uri="{BB962C8B-B14F-4D97-AF65-F5344CB8AC3E}">
        <p14:creationId xmlns:p14="http://schemas.microsoft.com/office/powerpoint/2010/main" val="409792817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spTree>
      <p:nvGrpSpPr>
        <p:cNvPr id="1" name=""/>
        <p:cNvGrpSpPr/>
        <p:nvPr/>
      </p:nvGrpSpPr>
      <p:grpSpPr>
        <a:xfrm>
          <a:off x="0" y="0"/>
          <a:ext cx="0" cy="0"/>
          <a:chOff x="0" y="0"/>
          <a:chExt cx="0" cy="0"/>
        </a:xfrm>
      </p:grpSpPr>
      <p:sp>
        <p:nvSpPr>
          <p:cNvPr id="102" name="Rectangle 101"/>
          <p:cNvSpPr/>
          <p:nvPr userDrawn="1"/>
        </p:nvSpPr>
        <p:spPr bwMode="gray">
          <a:xfrm>
            <a:off x="673099" y="3554414"/>
            <a:ext cx="9152468" cy="2797175"/>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p>
        </p:txBody>
      </p:sp>
      <p:sp>
        <p:nvSpPr>
          <p:cNvPr id="31" name="Rectangle 30"/>
          <p:cNvSpPr/>
          <p:nvPr userDrawn="1"/>
        </p:nvSpPr>
        <p:spPr bwMode="gray">
          <a:xfrm>
            <a:off x="1001211" y="3829099"/>
            <a:ext cx="1693312"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tx1"/>
              </a:solidFill>
            </a:endParaRPr>
          </a:p>
        </p:txBody>
      </p:sp>
      <p:sp>
        <p:nvSpPr>
          <p:cNvPr id="35" name="Picture Placeholder 2"/>
          <p:cNvSpPr>
            <a:spLocks noGrp="1"/>
          </p:cNvSpPr>
          <p:nvPr userDrawn="1">
            <p:ph type="pic" sz="quarter" idx="13"/>
          </p:nvPr>
        </p:nvSpPr>
        <p:spPr bwMode="auto">
          <a:xfrm>
            <a:off x="1" y="0"/>
            <a:ext cx="12200897" cy="4830116"/>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 name="connsiteX0" fmla="*/ 241373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41373 w 12194723"/>
              <a:gd name="connsiteY8" fmla="*/ 0 h 4854829"/>
              <a:gd name="connsiteX0" fmla="*/ 2382 w 11955732"/>
              <a:gd name="connsiteY0" fmla="*/ 0 h 4854829"/>
              <a:gd name="connsiteX1" fmla="*/ 11955391 w 11955732"/>
              <a:gd name="connsiteY1" fmla="*/ 0 h 4854829"/>
              <a:gd name="connsiteX2" fmla="*/ 11955391 w 11955732"/>
              <a:gd name="connsiteY2" fmla="*/ 4854636 h 4854829"/>
              <a:gd name="connsiteX3" fmla="*/ 7384257 w 11955732"/>
              <a:gd name="connsiteY3" fmla="*/ 4843680 h 4854829"/>
              <a:gd name="connsiteX4" fmla="*/ 7381442 w 11955732"/>
              <a:gd name="connsiteY4" fmla="*/ 3543300 h 4854829"/>
              <a:gd name="connsiteX5" fmla="*/ 523124 w 11955732"/>
              <a:gd name="connsiteY5" fmla="*/ 3547023 h 4854829"/>
              <a:gd name="connsiteX6" fmla="*/ 523704 w 11955732"/>
              <a:gd name="connsiteY6" fmla="*/ 4850671 h 4854829"/>
              <a:gd name="connsiteX7" fmla="*/ 0 w 11955732"/>
              <a:gd name="connsiteY7" fmla="*/ 4847509 h 4854829"/>
              <a:gd name="connsiteX8" fmla="*/ 2382 w 11955732"/>
              <a:gd name="connsiteY8" fmla="*/ 0 h 4854829"/>
              <a:gd name="connsiteX0" fmla="*/ 2382 w 11960184"/>
              <a:gd name="connsiteY0" fmla="*/ 0 h 4854829"/>
              <a:gd name="connsiteX1" fmla="*/ 11955391 w 11960184"/>
              <a:gd name="connsiteY1" fmla="*/ 0 h 4854829"/>
              <a:gd name="connsiteX2" fmla="*/ 11955391 w 11960184"/>
              <a:gd name="connsiteY2" fmla="*/ 4854636 h 4854829"/>
              <a:gd name="connsiteX3" fmla="*/ 7384257 w 11960184"/>
              <a:gd name="connsiteY3" fmla="*/ 4843680 h 4854829"/>
              <a:gd name="connsiteX4" fmla="*/ 7381442 w 11960184"/>
              <a:gd name="connsiteY4" fmla="*/ 3543300 h 4854829"/>
              <a:gd name="connsiteX5" fmla="*/ 523124 w 11960184"/>
              <a:gd name="connsiteY5" fmla="*/ 3547023 h 4854829"/>
              <a:gd name="connsiteX6" fmla="*/ 523704 w 11960184"/>
              <a:gd name="connsiteY6" fmla="*/ 4850671 h 4854829"/>
              <a:gd name="connsiteX7" fmla="*/ 0 w 11960184"/>
              <a:gd name="connsiteY7" fmla="*/ 4847509 h 4854829"/>
              <a:gd name="connsiteX8" fmla="*/ 2382 w 11960184"/>
              <a:gd name="connsiteY8" fmla="*/ 0 h 4854829"/>
              <a:gd name="connsiteX0" fmla="*/ 2382 w 11975151"/>
              <a:gd name="connsiteY0" fmla="*/ 0 h 5210613"/>
              <a:gd name="connsiteX1" fmla="*/ 9149846 w 11975151"/>
              <a:gd name="connsiteY1" fmla="*/ 0 h 5210613"/>
              <a:gd name="connsiteX2" fmla="*/ 11955391 w 11975151"/>
              <a:gd name="connsiteY2" fmla="*/ 4854636 h 5210613"/>
              <a:gd name="connsiteX3" fmla="*/ 7384257 w 11975151"/>
              <a:gd name="connsiteY3" fmla="*/ 4843680 h 5210613"/>
              <a:gd name="connsiteX4" fmla="*/ 7381442 w 11975151"/>
              <a:gd name="connsiteY4" fmla="*/ 3543300 h 5210613"/>
              <a:gd name="connsiteX5" fmla="*/ 523124 w 11975151"/>
              <a:gd name="connsiteY5" fmla="*/ 3547023 h 5210613"/>
              <a:gd name="connsiteX6" fmla="*/ 523704 w 11975151"/>
              <a:gd name="connsiteY6" fmla="*/ 4850671 h 5210613"/>
              <a:gd name="connsiteX7" fmla="*/ 0 w 11975151"/>
              <a:gd name="connsiteY7" fmla="*/ 4847509 h 5210613"/>
              <a:gd name="connsiteX8" fmla="*/ 2382 w 11975151"/>
              <a:gd name="connsiteY8" fmla="*/ 0 h 5210613"/>
              <a:gd name="connsiteX0" fmla="*/ 2382 w 11955393"/>
              <a:gd name="connsiteY0" fmla="*/ 0 h 4854636"/>
              <a:gd name="connsiteX1" fmla="*/ 9149846 w 11955393"/>
              <a:gd name="connsiteY1" fmla="*/ 0 h 4854636"/>
              <a:gd name="connsiteX2" fmla="*/ 11955391 w 11955393"/>
              <a:gd name="connsiteY2" fmla="*/ 4854636 h 4854636"/>
              <a:gd name="connsiteX3" fmla="*/ 7384257 w 11955393"/>
              <a:gd name="connsiteY3" fmla="*/ 4843680 h 4854636"/>
              <a:gd name="connsiteX4" fmla="*/ 7381442 w 11955393"/>
              <a:gd name="connsiteY4" fmla="*/ 3543300 h 4854636"/>
              <a:gd name="connsiteX5" fmla="*/ 523124 w 11955393"/>
              <a:gd name="connsiteY5" fmla="*/ 3547023 h 4854636"/>
              <a:gd name="connsiteX6" fmla="*/ 523704 w 11955393"/>
              <a:gd name="connsiteY6" fmla="*/ 4850671 h 4854636"/>
              <a:gd name="connsiteX7" fmla="*/ 0 w 11955393"/>
              <a:gd name="connsiteY7" fmla="*/ 4847509 h 4854636"/>
              <a:gd name="connsiteX8" fmla="*/ 2382 w 11955393"/>
              <a:gd name="connsiteY8" fmla="*/ 0 h 4854636"/>
              <a:gd name="connsiteX0" fmla="*/ 2382 w 9685771"/>
              <a:gd name="connsiteY0" fmla="*/ 360370 h 5307510"/>
              <a:gd name="connsiteX1" fmla="*/ 9149846 w 9685771"/>
              <a:gd name="connsiteY1" fmla="*/ 360370 h 5307510"/>
              <a:gd name="connsiteX2" fmla="*/ 8661472 w 9685771"/>
              <a:gd name="connsiteY2" fmla="*/ 5225371 h 5307510"/>
              <a:gd name="connsiteX3" fmla="*/ 7384257 w 9685771"/>
              <a:gd name="connsiteY3" fmla="*/ 5204050 h 5307510"/>
              <a:gd name="connsiteX4" fmla="*/ 7381442 w 9685771"/>
              <a:gd name="connsiteY4" fmla="*/ 3903670 h 5307510"/>
              <a:gd name="connsiteX5" fmla="*/ 523124 w 9685771"/>
              <a:gd name="connsiteY5" fmla="*/ 3907393 h 5307510"/>
              <a:gd name="connsiteX6" fmla="*/ 523704 w 9685771"/>
              <a:gd name="connsiteY6" fmla="*/ 5211041 h 5307510"/>
              <a:gd name="connsiteX7" fmla="*/ 0 w 9685771"/>
              <a:gd name="connsiteY7" fmla="*/ 5207879 h 5307510"/>
              <a:gd name="connsiteX8" fmla="*/ 2382 w 9685771"/>
              <a:gd name="connsiteY8" fmla="*/ 360370 h 5307510"/>
              <a:gd name="connsiteX0" fmla="*/ 2382 w 9151108"/>
              <a:gd name="connsiteY0" fmla="*/ 0 h 4947140"/>
              <a:gd name="connsiteX1" fmla="*/ 9149846 w 9151108"/>
              <a:gd name="connsiteY1" fmla="*/ 0 h 4947140"/>
              <a:gd name="connsiteX2" fmla="*/ 8661472 w 9151108"/>
              <a:gd name="connsiteY2" fmla="*/ 4865001 h 4947140"/>
              <a:gd name="connsiteX3" fmla="*/ 7384257 w 9151108"/>
              <a:gd name="connsiteY3" fmla="*/ 4843680 h 4947140"/>
              <a:gd name="connsiteX4" fmla="*/ 7381442 w 9151108"/>
              <a:gd name="connsiteY4" fmla="*/ 3543300 h 4947140"/>
              <a:gd name="connsiteX5" fmla="*/ 523124 w 9151108"/>
              <a:gd name="connsiteY5" fmla="*/ 3547023 h 4947140"/>
              <a:gd name="connsiteX6" fmla="*/ 523704 w 9151108"/>
              <a:gd name="connsiteY6" fmla="*/ 4850671 h 4947140"/>
              <a:gd name="connsiteX7" fmla="*/ 0 w 9151108"/>
              <a:gd name="connsiteY7" fmla="*/ 4847509 h 4947140"/>
              <a:gd name="connsiteX8" fmla="*/ 2382 w 9151108"/>
              <a:gd name="connsiteY8" fmla="*/ 0 h 4947140"/>
              <a:gd name="connsiteX0" fmla="*/ 2382 w 9828173"/>
              <a:gd name="connsiteY0" fmla="*/ 356531 h 5286738"/>
              <a:gd name="connsiteX1" fmla="*/ 9149846 w 9828173"/>
              <a:gd name="connsiteY1" fmla="*/ 356531 h 5286738"/>
              <a:gd name="connsiteX2" fmla="*/ 9149845 w 9828173"/>
              <a:gd name="connsiteY2" fmla="*/ 5169707 h 5286738"/>
              <a:gd name="connsiteX3" fmla="*/ 7384257 w 9828173"/>
              <a:gd name="connsiteY3" fmla="*/ 5200211 h 5286738"/>
              <a:gd name="connsiteX4" fmla="*/ 7381442 w 9828173"/>
              <a:gd name="connsiteY4" fmla="*/ 3899831 h 5286738"/>
              <a:gd name="connsiteX5" fmla="*/ 523124 w 9828173"/>
              <a:gd name="connsiteY5" fmla="*/ 3903554 h 5286738"/>
              <a:gd name="connsiteX6" fmla="*/ 523704 w 9828173"/>
              <a:gd name="connsiteY6" fmla="*/ 5207202 h 5286738"/>
              <a:gd name="connsiteX7" fmla="*/ 0 w 9828173"/>
              <a:gd name="connsiteY7" fmla="*/ 5204040 h 5286738"/>
              <a:gd name="connsiteX8" fmla="*/ 2382 w 9828173"/>
              <a:gd name="connsiteY8" fmla="*/ 356531 h 5286738"/>
              <a:gd name="connsiteX0" fmla="*/ 2382 w 9154046"/>
              <a:gd name="connsiteY0" fmla="*/ 0 h 4930207"/>
              <a:gd name="connsiteX1" fmla="*/ 9149846 w 9154046"/>
              <a:gd name="connsiteY1" fmla="*/ 0 h 4930207"/>
              <a:gd name="connsiteX2" fmla="*/ 9149845 w 9154046"/>
              <a:gd name="connsiteY2" fmla="*/ 4813176 h 4930207"/>
              <a:gd name="connsiteX3" fmla="*/ 7384257 w 9154046"/>
              <a:gd name="connsiteY3" fmla="*/ 4843680 h 4930207"/>
              <a:gd name="connsiteX4" fmla="*/ 7381442 w 9154046"/>
              <a:gd name="connsiteY4" fmla="*/ 3543300 h 4930207"/>
              <a:gd name="connsiteX5" fmla="*/ 523124 w 9154046"/>
              <a:gd name="connsiteY5" fmla="*/ 3547023 h 4930207"/>
              <a:gd name="connsiteX6" fmla="*/ 523704 w 9154046"/>
              <a:gd name="connsiteY6" fmla="*/ 4850671 h 4930207"/>
              <a:gd name="connsiteX7" fmla="*/ 0 w 9154046"/>
              <a:gd name="connsiteY7" fmla="*/ 4847509 h 4930207"/>
              <a:gd name="connsiteX8" fmla="*/ 2382 w 9154046"/>
              <a:gd name="connsiteY8" fmla="*/ 0 h 4930207"/>
              <a:gd name="connsiteX0" fmla="*/ 2382 w 9154046"/>
              <a:gd name="connsiteY0" fmla="*/ 0 h 4850673"/>
              <a:gd name="connsiteX1" fmla="*/ 9149846 w 9154046"/>
              <a:gd name="connsiteY1" fmla="*/ 0 h 4850673"/>
              <a:gd name="connsiteX2" fmla="*/ 9149845 w 9154046"/>
              <a:gd name="connsiteY2" fmla="*/ 4813176 h 4850673"/>
              <a:gd name="connsiteX3" fmla="*/ 7384257 w 9154046"/>
              <a:gd name="connsiteY3" fmla="*/ 4843680 h 4850673"/>
              <a:gd name="connsiteX4" fmla="*/ 7381442 w 9154046"/>
              <a:gd name="connsiteY4" fmla="*/ 3543300 h 4850673"/>
              <a:gd name="connsiteX5" fmla="*/ 523124 w 9154046"/>
              <a:gd name="connsiteY5" fmla="*/ 3547023 h 4850673"/>
              <a:gd name="connsiteX6" fmla="*/ 523704 w 9154046"/>
              <a:gd name="connsiteY6" fmla="*/ 4850671 h 4850673"/>
              <a:gd name="connsiteX7" fmla="*/ 0 w 9154046"/>
              <a:gd name="connsiteY7" fmla="*/ 4847509 h 4850673"/>
              <a:gd name="connsiteX8" fmla="*/ 2382 w 9154046"/>
              <a:gd name="connsiteY8" fmla="*/ 0 h 4850673"/>
              <a:gd name="connsiteX0" fmla="*/ 2382 w 9282313"/>
              <a:gd name="connsiteY0" fmla="*/ 0 h 5171093"/>
              <a:gd name="connsiteX1" fmla="*/ 9149846 w 9282313"/>
              <a:gd name="connsiteY1" fmla="*/ 0 h 5171093"/>
              <a:gd name="connsiteX2" fmla="*/ 9149845 w 9282313"/>
              <a:gd name="connsiteY2" fmla="*/ 4813176 h 5171093"/>
              <a:gd name="connsiteX3" fmla="*/ 7384257 w 9282313"/>
              <a:gd name="connsiteY3" fmla="*/ 4821343 h 5171093"/>
              <a:gd name="connsiteX4" fmla="*/ 7381442 w 9282313"/>
              <a:gd name="connsiteY4" fmla="*/ 3543300 h 5171093"/>
              <a:gd name="connsiteX5" fmla="*/ 523124 w 9282313"/>
              <a:gd name="connsiteY5" fmla="*/ 3547023 h 5171093"/>
              <a:gd name="connsiteX6" fmla="*/ 523704 w 9282313"/>
              <a:gd name="connsiteY6" fmla="*/ 4850671 h 5171093"/>
              <a:gd name="connsiteX7" fmla="*/ 0 w 9282313"/>
              <a:gd name="connsiteY7" fmla="*/ 4847509 h 5171093"/>
              <a:gd name="connsiteX8" fmla="*/ 2382 w 9282313"/>
              <a:gd name="connsiteY8" fmla="*/ 0 h 5171093"/>
              <a:gd name="connsiteX0" fmla="*/ 2382 w 9282313"/>
              <a:gd name="connsiteY0" fmla="*/ 0 h 5168611"/>
              <a:gd name="connsiteX1" fmla="*/ 9149846 w 9282313"/>
              <a:gd name="connsiteY1" fmla="*/ 0 h 5168611"/>
              <a:gd name="connsiteX2" fmla="*/ 9149845 w 9282313"/>
              <a:gd name="connsiteY2" fmla="*/ 4813176 h 5168611"/>
              <a:gd name="connsiteX3" fmla="*/ 7384257 w 9282313"/>
              <a:gd name="connsiteY3" fmla="*/ 4813896 h 5168611"/>
              <a:gd name="connsiteX4" fmla="*/ 7381442 w 9282313"/>
              <a:gd name="connsiteY4" fmla="*/ 3543300 h 5168611"/>
              <a:gd name="connsiteX5" fmla="*/ 523124 w 9282313"/>
              <a:gd name="connsiteY5" fmla="*/ 3547023 h 5168611"/>
              <a:gd name="connsiteX6" fmla="*/ 523704 w 9282313"/>
              <a:gd name="connsiteY6" fmla="*/ 4850671 h 5168611"/>
              <a:gd name="connsiteX7" fmla="*/ 0 w 9282313"/>
              <a:gd name="connsiteY7" fmla="*/ 4847509 h 5168611"/>
              <a:gd name="connsiteX8" fmla="*/ 2382 w 9282313"/>
              <a:gd name="connsiteY8" fmla="*/ 0 h 5168611"/>
              <a:gd name="connsiteX0" fmla="*/ 2382 w 9153055"/>
              <a:gd name="connsiteY0" fmla="*/ 0 h 4850673"/>
              <a:gd name="connsiteX1" fmla="*/ 9149846 w 9153055"/>
              <a:gd name="connsiteY1" fmla="*/ 0 h 4850673"/>
              <a:gd name="connsiteX2" fmla="*/ 9149845 w 9153055"/>
              <a:gd name="connsiteY2" fmla="*/ 4813176 h 4850673"/>
              <a:gd name="connsiteX3" fmla="*/ 7384257 w 9153055"/>
              <a:gd name="connsiteY3" fmla="*/ 4813896 h 4850673"/>
              <a:gd name="connsiteX4" fmla="*/ 7381442 w 9153055"/>
              <a:gd name="connsiteY4" fmla="*/ 3543300 h 4850673"/>
              <a:gd name="connsiteX5" fmla="*/ 523124 w 9153055"/>
              <a:gd name="connsiteY5" fmla="*/ 3547023 h 4850673"/>
              <a:gd name="connsiteX6" fmla="*/ 523704 w 9153055"/>
              <a:gd name="connsiteY6" fmla="*/ 4850671 h 4850673"/>
              <a:gd name="connsiteX7" fmla="*/ 0 w 9153055"/>
              <a:gd name="connsiteY7" fmla="*/ 4847509 h 4850673"/>
              <a:gd name="connsiteX8" fmla="*/ 2382 w 9153055"/>
              <a:gd name="connsiteY8" fmla="*/ 0 h 4850673"/>
              <a:gd name="connsiteX0" fmla="*/ 2382 w 9153055"/>
              <a:gd name="connsiteY0" fmla="*/ 0 h 4850673"/>
              <a:gd name="connsiteX1" fmla="*/ 9149846 w 9153055"/>
              <a:gd name="connsiteY1" fmla="*/ 0 h 4850673"/>
              <a:gd name="connsiteX2" fmla="*/ 9149845 w 9153055"/>
              <a:gd name="connsiteY2" fmla="*/ 4813176 h 4850673"/>
              <a:gd name="connsiteX3" fmla="*/ 7384257 w 9153055"/>
              <a:gd name="connsiteY3" fmla="*/ 4813896 h 4850673"/>
              <a:gd name="connsiteX4" fmla="*/ 7381442 w 9153055"/>
              <a:gd name="connsiteY4" fmla="*/ 3543300 h 4850673"/>
              <a:gd name="connsiteX5" fmla="*/ 523124 w 9153055"/>
              <a:gd name="connsiteY5" fmla="*/ 3547023 h 4850673"/>
              <a:gd name="connsiteX6" fmla="*/ 523704 w 9153055"/>
              <a:gd name="connsiteY6" fmla="*/ 4850671 h 4850673"/>
              <a:gd name="connsiteX7" fmla="*/ 0 w 9153055"/>
              <a:gd name="connsiteY7" fmla="*/ 4847509 h 4850673"/>
              <a:gd name="connsiteX8" fmla="*/ 2382 w 9153055"/>
              <a:gd name="connsiteY8" fmla="*/ 0 h 4850673"/>
              <a:gd name="connsiteX0" fmla="*/ 2382 w 9153055"/>
              <a:gd name="connsiteY0" fmla="*/ 0 h 4847542"/>
              <a:gd name="connsiteX1" fmla="*/ 9149846 w 9153055"/>
              <a:gd name="connsiteY1" fmla="*/ 0 h 4847542"/>
              <a:gd name="connsiteX2" fmla="*/ 9149845 w 9153055"/>
              <a:gd name="connsiteY2" fmla="*/ 4813176 h 4847542"/>
              <a:gd name="connsiteX3" fmla="*/ 7384257 w 9153055"/>
              <a:gd name="connsiteY3" fmla="*/ 4813896 h 4847542"/>
              <a:gd name="connsiteX4" fmla="*/ 7381442 w 9153055"/>
              <a:gd name="connsiteY4" fmla="*/ 3543300 h 4847542"/>
              <a:gd name="connsiteX5" fmla="*/ 523124 w 9153055"/>
              <a:gd name="connsiteY5" fmla="*/ 3547023 h 4847542"/>
              <a:gd name="connsiteX6" fmla="*/ 517484 w 9153055"/>
              <a:gd name="connsiteY6" fmla="*/ 4825851 h 4847542"/>
              <a:gd name="connsiteX7" fmla="*/ 0 w 9153055"/>
              <a:gd name="connsiteY7" fmla="*/ 4847509 h 4847542"/>
              <a:gd name="connsiteX8" fmla="*/ 2382 w 9153055"/>
              <a:gd name="connsiteY8" fmla="*/ 0 h 4847542"/>
              <a:gd name="connsiteX0" fmla="*/ 2382 w 9153055"/>
              <a:gd name="connsiteY0" fmla="*/ 0 h 4835165"/>
              <a:gd name="connsiteX1" fmla="*/ 9149846 w 9153055"/>
              <a:gd name="connsiteY1" fmla="*/ 0 h 4835165"/>
              <a:gd name="connsiteX2" fmla="*/ 9149845 w 9153055"/>
              <a:gd name="connsiteY2" fmla="*/ 4813176 h 4835165"/>
              <a:gd name="connsiteX3" fmla="*/ 7384257 w 9153055"/>
              <a:gd name="connsiteY3" fmla="*/ 4813896 h 4835165"/>
              <a:gd name="connsiteX4" fmla="*/ 7381442 w 9153055"/>
              <a:gd name="connsiteY4" fmla="*/ 3543300 h 4835165"/>
              <a:gd name="connsiteX5" fmla="*/ 523124 w 9153055"/>
              <a:gd name="connsiteY5" fmla="*/ 3547023 h 4835165"/>
              <a:gd name="connsiteX6" fmla="*/ 517484 w 9153055"/>
              <a:gd name="connsiteY6" fmla="*/ 4825851 h 4835165"/>
              <a:gd name="connsiteX7" fmla="*/ 0 w 9153055"/>
              <a:gd name="connsiteY7" fmla="*/ 4835100 h 4835165"/>
              <a:gd name="connsiteX8" fmla="*/ 2382 w 9153055"/>
              <a:gd name="connsiteY8" fmla="*/ 0 h 4835165"/>
              <a:gd name="connsiteX0" fmla="*/ 2382 w 9153055"/>
              <a:gd name="connsiteY0" fmla="*/ 0 h 4835165"/>
              <a:gd name="connsiteX1" fmla="*/ 9149846 w 9153055"/>
              <a:gd name="connsiteY1" fmla="*/ 0 h 4835165"/>
              <a:gd name="connsiteX2" fmla="*/ 9149845 w 9153055"/>
              <a:gd name="connsiteY2" fmla="*/ 4813176 h 4835165"/>
              <a:gd name="connsiteX3" fmla="*/ 7384257 w 9153055"/>
              <a:gd name="connsiteY3" fmla="*/ 4813896 h 4835165"/>
              <a:gd name="connsiteX4" fmla="*/ 7381442 w 9153055"/>
              <a:gd name="connsiteY4" fmla="*/ 3543300 h 4835165"/>
              <a:gd name="connsiteX5" fmla="*/ 523124 w 9153055"/>
              <a:gd name="connsiteY5" fmla="*/ 3547023 h 4835165"/>
              <a:gd name="connsiteX6" fmla="*/ 517484 w 9153055"/>
              <a:gd name="connsiteY6" fmla="*/ 4825851 h 4835165"/>
              <a:gd name="connsiteX7" fmla="*/ 0 w 9153055"/>
              <a:gd name="connsiteY7" fmla="*/ 4835100 h 4835165"/>
              <a:gd name="connsiteX8" fmla="*/ 2382 w 9153055"/>
              <a:gd name="connsiteY8" fmla="*/ 0 h 4835165"/>
              <a:gd name="connsiteX0" fmla="*/ 0 w 9150673"/>
              <a:gd name="connsiteY0" fmla="*/ 0 h 4825853"/>
              <a:gd name="connsiteX1" fmla="*/ 9147464 w 9150673"/>
              <a:gd name="connsiteY1" fmla="*/ 0 h 4825853"/>
              <a:gd name="connsiteX2" fmla="*/ 9147463 w 9150673"/>
              <a:gd name="connsiteY2" fmla="*/ 4813176 h 4825853"/>
              <a:gd name="connsiteX3" fmla="*/ 7381875 w 9150673"/>
              <a:gd name="connsiteY3" fmla="*/ 4813896 h 4825853"/>
              <a:gd name="connsiteX4" fmla="*/ 7379060 w 9150673"/>
              <a:gd name="connsiteY4" fmla="*/ 3543300 h 4825853"/>
              <a:gd name="connsiteX5" fmla="*/ 520742 w 9150673"/>
              <a:gd name="connsiteY5" fmla="*/ 3547023 h 4825853"/>
              <a:gd name="connsiteX6" fmla="*/ 515102 w 9150673"/>
              <a:gd name="connsiteY6" fmla="*/ 4825851 h 4825853"/>
              <a:gd name="connsiteX7" fmla="*/ 2770 w 9150673"/>
              <a:gd name="connsiteY7" fmla="*/ 4817115 h 4825853"/>
              <a:gd name="connsiteX8" fmla="*/ 0 w 9150673"/>
              <a:gd name="connsiteY8" fmla="*/ 0 h 4825853"/>
              <a:gd name="connsiteX0" fmla="*/ 0 w 9150673"/>
              <a:gd name="connsiteY0" fmla="*/ 0 h 4818145"/>
              <a:gd name="connsiteX1" fmla="*/ 9147464 w 9150673"/>
              <a:gd name="connsiteY1" fmla="*/ 0 h 4818145"/>
              <a:gd name="connsiteX2" fmla="*/ 9147463 w 9150673"/>
              <a:gd name="connsiteY2" fmla="*/ 4813176 h 4818145"/>
              <a:gd name="connsiteX3" fmla="*/ 7381875 w 9150673"/>
              <a:gd name="connsiteY3" fmla="*/ 4813896 h 4818145"/>
              <a:gd name="connsiteX4" fmla="*/ 7379060 w 9150673"/>
              <a:gd name="connsiteY4" fmla="*/ 3543300 h 4818145"/>
              <a:gd name="connsiteX5" fmla="*/ 520742 w 9150673"/>
              <a:gd name="connsiteY5" fmla="*/ 3547023 h 4818145"/>
              <a:gd name="connsiteX6" fmla="*/ 515102 w 9150673"/>
              <a:gd name="connsiteY6" fmla="*/ 4818143 h 4818145"/>
              <a:gd name="connsiteX7" fmla="*/ 2770 w 9150673"/>
              <a:gd name="connsiteY7" fmla="*/ 4817115 h 4818145"/>
              <a:gd name="connsiteX8" fmla="*/ 0 w 9150673"/>
              <a:gd name="connsiteY8" fmla="*/ 0 h 481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50673" h="4818145">
                <a:moveTo>
                  <a:pt x="0" y="0"/>
                </a:moveTo>
                <a:lnTo>
                  <a:pt x="9147464" y="0"/>
                </a:lnTo>
                <a:cubicBezTo>
                  <a:pt x="9154968" y="4079"/>
                  <a:pt x="9146880" y="4807581"/>
                  <a:pt x="9147463" y="4813176"/>
                </a:cubicBezTo>
                <a:cubicBezTo>
                  <a:pt x="9148046" y="4818771"/>
                  <a:pt x="7385663" y="4807873"/>
                  <a:pt x="7381875" y="4813896"/>
                </a:cubicBezTo>
                <a:cubicBezTo>
                  <a:pt x="7378087" y="4819919"/>
                  <a:pt x="7380515" y="3538511"/>
                  <a:pt x="7379060" y="3543300"/>
                </a:cubicBezTo>
                <a:cubicBezTo>
                  <a:pt x="7377605" y="3548089"/>
                  <a:pt x="2806848" y="3545782"/>
                  <a:pt x="520742" y="3547023"/>
                </a:cubicBezTo>
                <a:cubicBezTo>
                  <a:pt x="519025" y="3777370"/>
                  <a:pt x="515915" y="4819927"/>
                  <a:pt x="515102" y="4818143"/>
                </a:cubicBezTo>
                <a:cubicBezTo>
                  <a:pt x="514289" y="4816359"/>
                  <a:pt x="257002" y="4818169"/>
                  <a:pt x="2770" y="4817115"/>
                </a:cubicBezTo>
                <a:cubicBezTo>
                  <a:pt x="1847" y="3211410"/>
                  <a:pt x="923" y="1605705"/>
                  <a:pt x="0" y="0"/>
                </a:cubicBez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28" name="Rectangle 2"/>
          <p:cNvSpPr>
            <a:spLocks noGrp="1" noChangeArrowheads="1"/>
          </p:cNvSpPr>
          <p:nvPr userDrawn="1">
            <p:ph type="ctrTitle"/>
          </p:nvPr>
        </p:nvSpPr>
        <p:spPr>
          <a:xfrm>
            <a:off x="1007533" y="4027623"/>
            <a:ext cx="8483600" cy="864000"/>
          </a:xfrm>
          <a:noFill/>
          <a:ln w="9525" algn="ctr">
            <a:noFill/>
            <a:miter lim="800000"/>
            <a:headEnd/>
            <a:tailEnd/>
          </a:ln>
        </p:spPr>
        <p:txBody>
          <a:bodyPr vert="horz" wrap="square" lIns="0" tIns="0" rIns="0" bIns="0" numCol="1" anchor="t" anchorCtr="0" compatLnSpc="1">
            <a:prstTxWarp prst="textNoShape">
              <a:avLst/>
            </a:prstTxWarp>
          </a:bodyPr>
          <a:lstStyle>
            <a:lvl1pPr>
              <a:defRPr lang="en-GB" spc="0" dirty="0">
                <a:cs typeface="Arial" pitchFamily="34" charset="0"/>
              </a:defRPr>
            </a:lvl1pPr>
          </a:lstStyle>
          <a:p>
            <a:pPr lvl="0" defTabSz="1219170">
              <a:lnSpc>
                <a:spcPct val="100000"/>
              </a:lnSpc>
            </a:pPr>
            <a:r>
              <a:rPr lang="en-US"/>
              <a:t>Click to edit Master title style</a:t>
            </a:r>
            <a:endParaRPr lang="en-GB" dirty="0"/>
          </a:p>
        </p:txBody>
      </p:sp>
      <p:sp>
        <p:nvSpPr>
          <p:cNvPr id="29" name="Rectangle 3"/>
          <p:cNvSpPr>
            <a:spLocks noGrp="1" noChangeArrowheads="1"/>
          </p:cNvSpPr>
          <p:nvPr userDrawn="1">
            <p:ph type="subTitle" idx="1"/>
          </p:nvPr>
        </p:nvSpPr>
        <p:spPr>
          <a:xfrm>
            <a:off x="1007533" y="5096738"/>
            <a:ext cx="8483600" cy="770400"/>
          </a:xfrm>
          <a:noFill/>
          <a:ln w="9525" algn="ctr">
            <a:noFill/>
            <a:miter lim="800000"/>
            <a:headEnd/>
            <a:tailEnd/>
          </a:ln>
        </p:spPr>
        <p:txBody>
          <a:bodyPr vert="horz" wrap="square" lIns="0" tIns="0" rIns="0" bIns="0" numCol="1" anchor="t" anchorCtr="0" compatLnSpc="1">
            <a:prstTxWarp prst="textNoShape">
              <a:avLst/>
            </a:prstTxWarp>
          </a:bodyPr>
          <a:lstStyle>
            <a:lvl1pPr>
              <a:defRPr lang="en-GB" sz="1400" dirty="0"/>
            </a:lvl1pPr>
          </a:lstStyle>
          <a:p>
            <a:pPr lvl="0" defTabSz="357708">
              <a:lnSpc>
                <a:spcPct val="90000"/>
              </a:lnSpc>
              <a:spcBef>
                <a:spcPct val="0"/>
              </a:spcBef>
            </a:pPr>
            <a:r>
              <a:rPr lang="en-US"/>
              <a:t>Click to edit Master subtitle style</a:t>
            </a:r>
            <a:endParaRPr lang="en-GB" dirty="0"/>
          </a:p>
        </p:txBody>
      </p:sp>
      <p:sp>
        <p:nvSpPr>
          <p:cNvPr id="98" name="Text Box 11" descr="&lt;COMPANY_NAME&gt;" title="&lt;COMPANY_NAME&gt;"/>
          <p:cNvSpPr txBox="1">
            <a:spLocks noChangeArrowheads="1"/>
          </p:cNvSpPr>
          <p:nvPr userDrawn="1"/>
        </p:nvSpPr>
        <p:spPr bwMode="auto">
          <a:xfrm>
            <a:off x="677186" y="6478119"/>
            <a:ext cx="3047405" cy="237744"/>
          </a:xfrm>
          <a:prstGeom prst="rect">
            <a:avLst/>
          </a:prstGeom>
          <a:noFill/>
          <a:ln w="9525" algn="ctr">
            <a:noFill/>
            <a:miter lim="800000"/>
            <a:headEnd/>
            <a:tailEnd/>
          </a:ln>
          <a:effectLst/>
        </p:spPr>
        <p:txBody>
          <a:bodyPr wrap="none" lIns="0" tIns="0" rIns="0" anchor="t" anchorCtr="0">
            <a:noAutofit/>
          </a:bodyPr>
          <a:lstStyle/>
          <a:p>
            <a:pPr>
              <a:defRPr/>
            </a:pPr>
            <a:r>
              <a:rPr lang="en-US" sz="800" dirty="0">
                <a:solidFill>
                  <a:schemeClr val="tx1"/>
                </a:solidFill>
                <a:latin typeface="+mn-lt"/>
                <a:cs typeface="Arial" pitchFamily="34" charset="0"/>
              </a:rPr>
              <a:t>Copyright of Shell Petroleum and Development Company</a:t>
            </a:r>
            <a:endParaRPr lang="en-GB" sz="800" dirty="0">
              <a:solidFill>
                <a:schemeClr val="tx1"/>
              </a:solidFill>
              <a:latin typeface="+mn-lt"/>
              <a:cs typeface="Arial" pitchFamily="34" charset="0"/>
            </a:endParaRPr>
          </a:p>
        </p:txBody>
      </p:sp>
      <p:sp>
        <p:nvSpPr>
          <p:cNvPr id="99"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0"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01"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554834124"/>
      </p:ext>
    </p:extLst>
  </p:cSld>
  <p:clrMapOvr>
    <a:masterClrMapping/>
  </p:clrMapOvr>
  <p:transition/>
  <p:extLst>
    <p:ext uri="{DCECCB84-F9BA-43D5-87BE-67443E8EF086}">
      <p15:sldGuideLst xmlns:p15="http://schemas.microsoft.com/office/powerpoint/2012/main">
        <p15:guide id="0" pos="476">
          <p15:clr>
            <a:srgbClr val="FBAE40"/>
          </p15:clr>
        </p15:guide>
        <p15:guide id="4" pos="448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73100" y="728663"/>
            <a:ext cx="1084580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dirty="0" smtClean="0"/>
            </a:lvl1pPr>
          </a:lstStyle>
          <a:p>
            <a:pPr lvl="0"/>
            <a:r>
              <a:rPr lang="en-US"/>
              <a:t>Click to edit Master title style</a:t>
            </a:r>
            <a:endParaRPr lang="en-GB" dirty="0"/>
          </a:p>
        </p:txBody>
      </p:sp>
      <p:sp>
        <p:nvSpPr>
          <p:cNvPr id="8"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9"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2"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3451459016"/>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73101" y="728663"/>
            <a:ext cx="10845800" cy="7556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dirty="0" smtClean="0"/>
            </a:lvl1pPr>
          </a:lstStyle>
          <a:p>
            <a:pPr lvl="0"/>
            <a:r>
              <a:rPr lang="en-US"/>
              <a:t>Click to edit Master title style</a:t>
            </a:r>
            <a:endParaRPr lang="en-GB" dirty="0"/>
          </a:p>
        </p:txBody>
      </p:sp>
      <p:sp>
        <p:nvSpPr>
          <p:cNvPr id="7" name="Slide Number Placeholder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2"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1816760476"/>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1" y="0"/>
            <a:ext cx="12194383" cy="6858000"/>
          </a:xfrm>
          <a:prstGeom prst="rect">
            <a:avLst/>
          </a:prstGeom>
          <a:noFill/>
          <a:ln w="3175" algn="ctr">
            <a:noFill/>
            <a:miter lim="800000"/>
            <a:headEnd/>
            <a:tailEnd/>
          </a:ln>
        </p:spPr>
        <p:txBody>
          <a:bodyPr/>
          <a:lstStyle>
            <a:lvl1pPr>
              <a:defRPr sz="1600"/>
            </a:lvl1pPr>
          </a:lstStyle>
          <a:p>
            <a:r>
              <a:rPr lang="en-US"/>
              <a:t>Click icon to add picture</a:t>
            </a:r>
            <a:endParaRPr lang="en-GB" dirty="0"/>
          </a:p>
        </p:txBody>
      </p:sp>
      <p:sp>
        <p:nvSpPr>
          <p:cNvPr id="3" name="Text Placeholder 2"/>
          <p:cNvSpPr>
            <a:spLocks noGrp="1"/>
          </p:cNvSpPr>
          <p:nvPr>
            <p:ph type="body" sz="quarter" idx="13"/>
          </p:nvPr>
        </p:nvSpPr>
        <p:spPr>
          <a:xfrm>
            <a:off x="673100" y="1492272"/>
            <a:ext cx="10845800"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
        <p:nvSpPr>
          <p:cNvPr id="7" name="Slide Number Placeholder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9"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0"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402663108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sp>
        <p:nvSpPr>
          <p:cNvPr id="3" name="Picture Placeholder 2" descr="&lt;ignore&gt;"/>
          <p:cNvSpPr>
            <a:spLocks noGrp="1"/>
          </p:cNvSpPr>
          <p:nvPr>
            <p:ph type="pic" sz="quarter" idx="12"/>
          </p:nvPr>
        </p:nvSpPr>
        <p:spPr bwMode="auto">
          <a:xfrm>
            <a:off x="0" y="0"/>
            <a:ext cx="12194723" cy="6857999"/>
          </a:xfrm>
          <a:prstGeom prst="rect">
            <a:avLst/>
          </a:prstGeom>
          <a:noFill/>
          <a:ln w="9525" algn="ctr">
            <a:noFill/>
            <a:miter lim="800000"/>
            <a:headEnd/>
            <a:tailEnd/>
          </a:ln>
        </p:spPr>
        <p:txBody>
          <a:bodyPr/>
          <a:lstStyle>
            <a:lvl1pPr>
              <a:defRPr sz="2133"/>
            </a:lvl1pPr>
          </a:lstStyle>
          <a:p>
            <a:r>
              <a:rPr lang="en-GB"/>
              <a:t>Click icon to add picture</a:t>
            </a:r>
            <a:endParaRPr lang="en-GB" dirty="0"/>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02" name="Rectangle 2"/>
          <p:cNvSpPr>
            <a:spLocks noGrp="1" noChangeArrowheads="1"/>
          </p:cNvSpPr>
          <p:nvPr>
            <p:ph type="ctrTitle"/>
          </p:nvPr>
        </p:nvSpPr>
        <p:spPr>
          <a:xfrm>
            <a:off x="766800" y="2754000"/>
            <a:ext cx="9972000" cy="918000"/>
          </a:xfrm>
          <a:noFill/>
        </p:spPr>
        <p:txBody>
          <a:bodyPr lIns="0" tIns="0" rIns="0" anchor="b" anchorCtr="0"/>
          <a:lstStyle>
            <a:lvl1pPr>
              <a:lnSpc>
                <a:spcPct val="100000"/>
              </a:lnSpc>
              <a:defRPr sz="3600" b="0" kern="1200" cap="none" spc="0" baseline="0">
                <a:solidFill>
                  <a:schemeClr val="tx1"/>
                </a:solidFill>
                <a:latin typeface="+mj-lt"/>
                <a:cs typeface="Arial" pitchFamily="34" charset="0"/>
              </a:defRPr>
            </a:lvl1pPr>
          </a:lstStyle>
          <a:p>
            <a:r>
              <a:rPr lang="en-GB"/>
              <a:t>Click to edit Master title style</a:t>
            </a:r>
            <a:endParaRPr lang="en-GB" dirty="0"/>
          </a:p>
        </p:txBody>
      </p:sp>
      <p:sp>
        <p:nvSpPr>
          <p:cNvPr id="103" name="Rectangle 3"/>
          <p:cNvSpPr>
            <a:spLocks noGrp="1" noChangeArrowheads="1"/>
          </p:cNvSpPr>
          <p:nvPr>
            <p:ph type="subTitle" idx="1"/>
          </p:nvPr>
        </p:nvSpPr>
        <p:spPr>
          <a:xfrm>
            <a:off x="766800" y="3805200"/>
            <a:ext cx="9975600" cy="748800"/>
          </a:xfrm>
        </p:spPr>
        <p:txBody>
          <a:bodyPr anchor="t" anchorCtr="0"/>
          <a:lstStyle>
            <a:lvl1pPr marL="0" indent="0">
              <a:lnSpc>
                <a:spcPct val="90000"/>
              </a:lnSpc>
              <a:spcBef>
                <a:spcPct val="0"/>
              </a:spcBef>
              <a:spcAft>
                <a:spcPts val="0"/>
              </a:spcAft>
              <a:buFont typeface="Wingdings" pitchFamily="2" charset="2"/>
              <a:buNone/>
              <a:defRPr sz="2000" baseline="0">
                <a:solidFill>
                  <a:schemeClr val="tx1"/>
                </a:solidFill>
                <a:latin typeface="+mn-lt"/>
                <a:cs typeface="Arial" pitchFamily="34" charset="0"/>
              </a:defRPr>
            </a:lvl1pPr>
          </a:lstStyle>
          <a:p>
            <a:r>
              <a:rPr lang="en-GB"/>
              <a:t>Click to edit Master subtitle style</a:t>
            </a:r>
            <a:endParaRPr lang="en-GB" dirty="0"/>
          </a:p>
        </p:txBody>
      </p:sp>
      <p:sp>
        <p:nvSpPr>
          <p:cNvPr id="104" name="Text Placeholder 31"/>
          <p:cNvSpPr>
            <a:spLocks noGrp="1"/>
          </p:cNvSpPr>
          <p:nvPr>
            <p:ph type="body" sz="quarter" idx="10" hasCustomPrompt="1"/>
          </p:nvPr>
        </p:nvSpPr>
        <p:spPr>
          <a:xfrm>
            <a:off x="766800" y="4831200"/>
            <a:ext cx="7869600" cy="237600"/>
          </a:xfrm>
        </p:spPr>
        <p:txBody>
          <a:bodyPr anchor="t" anchorCtr="0"/>
          <a:lstStyle>
            <a:lvl1pPr>
              <a:lnSpc>
                <a:spcPct val="100000"/>
              </a:lnSpc>
              <a:buNone/>
              <a:defRPr sz="1400">
                <a:solidFill>
                  <a:schemeClr val="tx1"/>
                </a:solidFill>
                <a:latin typeface="ShellHeavy" panose="00000700000000000000" pitchFamily="2" charset="0"/>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766800" y="5083200"/>
            <a:ext cx="7869600" cy="237600"/>
          </a:xfrm>
        </p:spPr>
        <p:txBody>
          <a:bodyPr anchor="t" anchorCtr="0"/>
          <a:lstStyle>
            <a:lvl1pPr>
              <a:lnSpc>
                <a:spcPct val="100000"/>
              </a:lnSpc>
              <a:buNone/>
              <a:defRPr sz="1400">
                <a:solidFill>
                  <a:schemeClr val="tx1"/>
                </a:solidFill>
                <a:latin typeface="ShellMedium" panose="00000600000000000000" pitchFamily="2" charset="0"/>
              </a:defRPr>
            </a:lvl1pPr>
          </a:lstStyle>
          <a:p>
            <a:pPr lvl="0"/>
            <a:r>
              <a:rPr lang="en-GB" noProof="1"/>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5840" y="517459"/>
            <a:ext cx="1887660" cy="1887660"/>
          </a:xfrm>
          <a:prstGeom prst="rect">
            <a:avLst/>
          </a:prstGeom>
          <a:ln>
            <a:noFill/>
          </a:ln>
        </p:spPr>
      </p:pic>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SPDC</a:t>
            </a:r>
          </a:p>
        </p:txBody>
      </p:sp>
      <p:sp>
        <p:nvSpPr>
          <p:cNvPr id="2" name="TextBox 1" descr="CONFIDENTIAL_TAG_0xFFEE">
            <a:extLst>
              <a:ext uri="{FF2B5EF4-FFF2-40B4-BE49-F238E27FC236}">
                <a16:creationId xmlns:a16="http://schemas.microsoft.com/office/drawing/2014/main" id="{45E94D1C-CE63-6BFE-8312-ACD4A7768AC4}"/>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2590869577"/>
      </p:ext>
    </p:extLst>
  </p:cSld>
  <p:clrMapOvr>
    <a:masterClrMapping/>
  </p:clrMapOvr>
  <p:transition/>
  <p:hf hdr="0"/>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sp>
        <p:nvSpPr>
          <p:cNvPr id="22" name="Rectangle 21"/>
          <p:cNvSpPr/>
          <p:nvPr userDrawn="1"/>
        </p:nvSpPr>
        <p:spPr bwMode="gray">
          <a:xfrm>
            <a:off x="2" y="4313784"/>
            <a:ext cx="12191999" cy="2544216"/>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bg1"/>
              </a:solidFill>
            </a:endParaRPr>
          </a:p>
        </p:txBody>
      </p:sp>
      <p:grpSp>
        <p:nvGrpSpPr>
          <p:cNvPr id="25" name="Group 24"/>
          <p:cNvGrpSpPr/>
          <p:nvPr userDrawn="1"/>
        </p:nvGrpSpPr>
        <p:grpSpPr bwMode="gray">
          <a:xfrm>
            <a:off x="5903384" y="2831546"/>
            <a:ext cx="5690760" cy="1633939"/>
            <a:chOff x="6450013" y="2557463"/>
            <a:chExt cx="5197475" cy="1917700"/>
          </a:xfrm>
        </p:grpSpPr>
        <p:sp>
          <p:nvSpPr>
            <p:cNvPr id="26"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dirty="0"/>
            </a:p>
          </p:txBody>
        </p:sp>
        <p:sp>
          <p:nvSpPr>
            <p:cNvPr id="27"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dirty="0"/>
            </a:p>
          </p:txBody>
        </p:sp>
        <p:sp>
          <p:nvSpPr>
            <p:cNvPr id="28"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dirty="0"/>
            </a:p>
          </p:txBody>
        </p:sp>
      </p:grpSp>
      <p:sp>
        <p:nvSpPr>
          <p:cNvPr id="34" name="Text Placeholder 13"/>
          <p:cNvSpPr>
            <a:spLocks noGrp="1"/>
          </p:cNvSpPr>
          <p:nvPr>
            <p:ph type="body" sz="quarter" idx="13"/>
          </p:nvPr>
        </p:nvSpPr>
        <p:spPr>
          <a:xfrm>
            <a:off x="1015981" y="1711397"/>
            <a:ext cx="10493664" cy="81359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GB" sz="2800" b="0" cap="none" baseline="0" dirty="0">
                <a:latin typeface="+mj-lt"/>
              </a:defRPr>
            </a:lvl1pPr>
          </a:lstStyle>
          <a:p>
            <a:pPr lvl="0" defTabSz="357708">
              <a:lnSpc>
                <a:spcPct val="100000"/>
              </a:lnSpc>
            </a:pPr>
            <a:r>
              <a:rPr lang="en-US"/>
              <a:t>Click to edit Master text styles</a:t>
            </a:r>
          </a:p>
        </p:txBody>
      </p:sp>
      <p:sp>
        <p:nvSpPr>
          <p:cNvPr id="11"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6"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
        <p:nvSpPr>
          <p:cNvPr id="24" name="Text Box 11" descr="&lt;COMPANY_NAME&gt;" title="&lt;COMPANY_NAME&gt;"/>
          <p:cNvSpPr txBox="1">
            <a:spLocks noChangeArrowheads="1"/>
          </p:cNvSpPr>
          <p:nvPr userDrawn="1"/>
        </p:nvSpPr>
        <p:spPr bwMode="auto">
          <a:xfrm>
            <a:off x="677186" y="6478119"/>
            <a:ext cx="3047405" cy="237744"/>
          </a:xfrm>
          <a:prstGeom prst="rect">
            <a:avLst/>
          </a:prstGeom>
          <a:noFill/>
          <a:ln w="9525" algn="ctr">
            <a:noFill/>
            <a:miter lim="800000"/>
            <a:headEnd/>
            <a:tailEnd/>
          </a:ln>
          <a:effectLst/>
        </p:spPr>
        <p:txBody>
          <a:bodyPr wrap="none" lIns="0" tIns="0" rIns="0" anchor="t" anchorCtr="0">
            <a:noAutofit/>
          </a:bodyPr>
          <a:lstStyle/>
          <a:p>
            <a:pPr>
              <a:defRPr/>
            </a:pPr>
            <a:r>
              <a:rPr lang="en-US" sz="800" dirty="0">
                <a:solidFill>
                  <a:schemeClr val="tx1"/>
                </a:solidFill>
                <a:latin typeface="+mn-lt"/>
                <a:cs typeface="Arial" pitchFamily="34" charset="0"/>
              </a:rPr>
              <a:t>Copyright of Shell Petroleum and Development Company</a:t>
            </a:r>
            <a:endParaRPr lang="en-GB" sz="800" dirty="0">
              <a:solidFill>
                <a:schemeClr val="tx1"/>
              </a:solidFill>
              <a:latin typeface="+mn-lt"/>
              <a:cs typeface="Arial" pitchFamily="34" charset="0"/>
            </a:endParaRPr>
          </a:p>
        </p:txBody>
      </p:sp>
      <p:sp>
        <p:nvSpPr>
          <p:cNvPr id="29" name="Title 1"/>
          <p:cNvSpPr>
            <a:spLocks noGrp="1"/>
          </p:cNvSpPr>
          <p:nvPr>
            <p:ph type="title" hasCustomPrompt="1"/>
          </p:nvPr>
        </p:nvSpPr>
        <p:spPr>
          <a:xfrm>
            <a:off x="1015981" y="2638196"/>
            <a:ext cx="4477944" cy="13608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MY" sz="1400" dirty="0"/>
            </a:lvl1pPr>
          </a:lstStyle>
          <a:p>
            <a:pPr lvl="0" defTabSz="1219170">
              <a:lnSpc>
                <a:spcPct val="100000"/>
              </a:lnSpc>
            </a:pPr>
            <a:r>
              <a:rPr lang="en-GB" dirty="0"/>
              <a:t>Click to subtitle</a:t>
            </a:r>
          </a:p>
        </p:txBody>
      </p:sp>
      <p:sp>
        <p:nvSpPr>
          <p:cNvPr id="30" name="Rectangle 29"/>
          <p:cNvSpPr/>
          <p:nvPr userDrawn="1"/>
        </p:nvSpPr>
        <p:spPr bwMode="gray">
          <a:xfrm>
            <a:off x="1015981" y="1524000"/>
            <a:ext cx="1693312"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p>
        </p:txBody>
      </p:sp>
    </p:spTree>
    <p:extLst>
      <p:ext uri="{BB962C8B-B14F-4D97-AF65-F5344CB8AC3E}">
        <p14:creationId xmlns:p14="http://schemas.microsoft.com/office/powerpoint/2010/main" val="2820295219"/>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7"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10"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
        <p:nvSpPr>
          <p:cNvPr id="11" name="Text Box 11" descr="&lt;COMPANY_NAME&gt;" title="&lt;COMPANY_NAME&gt;"/>
          <p:cNvSpPr txBox="1">
            <a:spLocks noChangeArrowheads="1"/>
          </p:cNvSpPr>
          <p:nvPr userDrawn="1"/>
        </p:nvSpPr>
        <p:spPr bwMode="auto">
          <a:xfrm>
            <a:off x="677186" y="6478119"/>
            <a:ext cx="3047405" cy="237744"/>
          </a:xfrm>
          <a:prstGeom prst="rect">
            <a:avLst/>
          </a:prstGeom>
          <a:noFill/>
          <a:ln w="9525" algn="ctr">
            <a:noFill/>
            <a:miter lim="800000"/>
            <a:headEnd/>
            <a:tailEnd/>
          </a:ln>
          <a:effectLst/>
        </p:spPr>
        <p:txBody>
          <a:bodyPr wrap="none" lIns="0" tIns="0" rIns="0" anchor="t" anchorCtr="0">
            <a:noAutofit/>
          </a:bodyPr>
          <a:lstStyle/>
          <a:p>
            <a:pPr>
              <a:defRPr/>
            </a:pPr>
            <a:r>
              <a:rPr lang="en-US" sz="800" dirty="0">
                <a:solidFill>
                  <a:schemeClr val="tx1"/>
                </a:solidFill>
                <a:latin typeface="+mn-lt"/>
                <a:cs typeface="Arial" pitchFamily="34" charset="0"/>
              </a:rPr>
              <a:t>Copyright of Shell Petroleum and Development Company</a:t>
            </a:r>
            <a:endParaRPr lang="en-GB" sz="800" dirty="0">
              <a:solidFill>
                <a:schemeClr val="tx1"/>
              </a:solidFill>
              <a:latin typeface="+mn-lt"/>
              <a:cs typeface="Arial" pitchFamily="34" charset="0"/>
            </a:endParaRPr>
          </a:p>
        </p:txBody>
      </p:sp>
    </p:spTree>
    <p:extLst>
      <p:ext uri="{BB962C8B-B14F-4D97-AF65-F5344CB8AC3E}">
        <p14:creationId xmlns:p14="http://schemas.microsoft.com/office/powerpoint/2010/main" val="2008123806"/>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29186" y="1280160"/>
            <a:ext cx="5733629" cy="4300222"/>
          </a:xfrm>
          <a:prstGeom prst="rect">
            <a:avLst/>
          </a:prstGeom>
        </p:spPr>
      </p:pic>
    </p:spTree>
    <p:extLst>
      <p:ext uri="{BB962C8B-B14F-4D97-AF65-F5344CB8AC3E}">
        <p14:creationId xmlns:p14="http://schemas.microsoft.com/office/powerpoint/2010/main" val="125639548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mj-lt"/>
              </a:defRPr>
            </a:lvl1pPr>
          </a:lstStyle>
          <a:p>
            <a:pPr lvl="0"/>
            <a:r>
              <a:rPr lang="en-GB" noProof="0"/>
              <a:t>Click to edit Master title style</a:t>
            </a:r>
            <a:endParaRPr lang="en-GB" noProof="0" dirty="0"/>
          </a:p>
        </p:txBody>
      </p:sp>
      <p:sp>
        <p:nvSpPr>
          <p:cNvPr id="10" name="Content Placeholder 9"/>
          <p:cNvSpPr>
            <a:spLocks noGrp="1"/>
          </p:cNvSpPr>
          <p:nvPr>
            <p:ph sz="quarter" idx="11"/>
          </p:nvPr>
        </p:nvSpPr>
        <p:spPr>
          <a:xfrm>
            <a:off x="765174" y="1665288"/>
            <a:ext cx="10914063" cy="4694236"/>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accent2"/>
              </a:buClr>
              <a:buSzPct val="100000"/>
              <a:buFont typeface="Wingdings" panose="05000000000000000000" pitchFamily="2" charset="2"/>
              <a:buChar char=""/>
              <a:defRPr sz="1800"/>
            </a:lvl3pPr>
            <a:lvl4pPr marL="687600" indent="-228600" defTabSz="357708">
              <a:lnSpc>
                <a:spcPct val="140000"/>
              </a:lnSpc>
              <a:spcBef>
                <a:spcPts val="0"/>
              </a:spcBef>
              <a:buClr>
                <a:schemeClr val="tx1"/>
              </a:buClr>
              <a:buSzPct val="100000"/>
              <a:buFont typeface="Wingdings" panose="05000000000000000000" pitchFamily="2" charset="2"/>
              <a:buChar char=""/>
              <a:defRPr sz="1600"/>
            </a:lvl4pPr>
            <a:lvl5pPr marL="890800" indent="-203200" defTabSz="357708">
              <a:lnSpc>
                <a:spcPct val="140000"/>
              </a:lnSpc>
              <a:spcBef>
                <a:spcPts val="0"/>
              </a:spcBef>
              <a:buClr>
                <a:schemeClr val="tx1"/>
              </a:buClr>
              <a:buSzPct val="100000"/>
              <a:buFont typeface="Wingdings" panose="05000000000000000000" pitchFamily="2" charset="2"/>
              <a:buChar char=""/>
              <a:defRPr sz="1400"/>
            </a:lvl5pPr>
            <a:lvl6pPr marL="1043200" indent="-152400" defTabSz="357708">
              <a:lnSpc>
                <a:spcPct val="140000"/>
              </a:lnSpc>
              <a:buClr>
                <a:schemeClr val="tx1"/>
              </a:buClr>
              <a:buSzPct val="100000"/>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1131DCC2-C238-A2B1-65C1-488726D42143}"/>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extLst>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Option 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1827" t="7660" r="49917" b="6682"/>
          <a:stretch/>
        </p:blipFill>
        <p:spPr>
          <a:xfrm>
            <a:off x="8458199" y="0"/>
            <a:ext cx="3727939" cy="6617454"/>
          </a:xfrm>
          <a:prstGeom prst="rect">
            <a:avLst/>
          </a:prstGeom>
        </p:spPr>
      </p:pic>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mj-lt"/>
              </a:defRPr>
            </a:lvl1pPr>
          </a:lstStyle>
          <a:p>
            <a:pPr lvl="0"/>
            <a:r>
              <a:rPr lang="en-GB" noProof="0"/>
              <a:t>Click to edit Master title style</a:t>
            </a:r>
            <a:endParaRPr lang="en-GB" noProof="0" dirty="0"/>
          </a:p>
        </p:txBody>
      </p:sp>
      <p:sp>
        <p:nvSpPr>
          <p:cNvPr id="10" name="Content Placeholder 9"/>
          <p:cNvSpPr>
            <a:spLocks noGrp="1"/>
          </p:cNvSpPr>
          <p:nvPr>
            <p:ph sz="quarter" idx="11"/>
          </p:nvPr>
        </p:nvSpPr>
        <p:spPr>
          <a:xfrm>
            <a:off x="765174" y="1665288"/>
            <a:ext cx="10914063" cy="4694236"/>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accent2"/>
              </a:buClr>
              <a:buSzPct val="100000"/>
              <a:buFont typeface="Wingdings" panose="05000000000000000000" pitchFamily="2" charset="2"/>
              <a:buChar char=""/>
              <a:defRPr sz="1800"/>
            </a:lvl3pPr>
            <a:lvl4pPr marL="687600" indent="-228600" defTabSz="357708">
              <a:lnSpc>
                <a:spcPct val="140000"/>
              </a:lnSpc>
              <a:spcBef>
                <a:spcPts val="0"/>
              </a:spcBef>
              <a:buClr>
                <a:schemeClr val="tx1"/>
              </a:buClr>
              <a:buSzPct val="100000"/>
              <a:buFont typeface="Wingdings" panose="05000000000000000000" pitchFamily="2" charset="2"/>
              <a:buChar char=""/>
              <a:defRPr sz="1600"/>
            </a:lvl4pPr>
            <a:lvl5pPr marL="890800" indent="-203200" defTabSz="357708">
              <a:lnSpc>
                <a:spcPct val="140000"/>
              </a:lnSpc>
              <a:spcBef>
                <a:spcPts val="0"/>
              </a:spcBef>
              <a:buClr>
                <a:schemeClr val="tx1"/>
              </a:buClr>
              <a:buSzPct val="100000"/>
              <a:buFont typeface="Wingdings" panose="05000000000000000000" pitchFamily="2" charset="2"/>
              <a:buChar char=""/>
              <a:defRPr sz="1400"/>
            </a:lvl5pPr>
            <a:lvl6pPr marL="1043200" indent="-152400" defTabSz="357708">
              <a:lnSpc>
                <a:spcPct val="140000"/>
              </a:lnSpc>
              <a:buClr>
                <a:schemeClr val="tx1"/>
              </a:buClr>
              <a:buSzPct val="100000"/>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27AD4927-D54A-F08A-63B5-9BDD84091325}"/>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758761515"/>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descr="&lt;ignore&gt;"/>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GB"/>
              <a:t>Click icon to add picture</a:t>
            </a:r>
            <a:endParaRPr lang="en-GB" dirty="0"/>
          </a:p>
        </p:txBody>
      </p:sp>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latin typeface="+mj-lt"/>
              </a:defRPr>
            </a:lvl1pPr>
          </a:lstStyle>
          <a:p>
            <a:pPr lvl="0"/>
            <a:r>
              <a:rPr lang="en-GB" noProof="0"/>
              <a:t>Click to edit Master title style</a:t>
            </a:r>
            <a:endParaRPr lang="en-GB" noProof="0" dirty="0"/>
          </a:p>
        </p:txBody>
      </p:sp>
      <p:sp>
        <p:nvSpPr>
          <p:cNvPr id="10" name="Content Placeholder 9"/>
          <p:cNvSpPr>
            <a:spLocks noGrp="1"/>
          </p:cNvSpPr>
          <p:nvPr>
            <p:ph sz="quarter" idx="11"/>
          </p:nvPr>
        </p:nvSpPr>
        <p:spPr>
          <a:xfrm>
            <a:off x="765174" y="1665288"/>
            <a:ext cx="5211763" cy="4694236"/>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59000" indent="-228600" defTabSz="357708">
              <a:lnSpc>
                <a:spcPct val="140000"/>
              </a:lnSpc>
              <a:spcBef>
                <a:spcPts val="0"/>
              </a:spcBef>
              <a:buClr>
                <a:schemeClr val="accent2"/>
              </a:buClr>
              <a:buSzPct val="100000"/>
              <a:buFont typeface="Wingdings" panose="05000000000000000000" pitchFamily="2" charset="2"/>
              <a:buChar char=""/>
              <a:defRPr sz="1800"/>
            </a:lvl3pPr>
            <a:lvl4pPr marL="687600" indent="-228600" defTabSz="357708">
              <a:lnSpc>
                <a:spcPct val="140000"/>
              </a:lnSpc>
              <a:spcBef>
                <a:spcPts val="0"/>
              </a:spcBef>
              <a:buClr>
                <a:schemeClr val="tx1"/>
              </a:buClr>
              <a:buSzPct val="100000"/>
              <a:buFont typeface="Wingdings" panose="05000000000000000000" pitchFamily="2" charset="2"/>
              <a:buChar char=""/>
              <a:defRPr sz="1600"/>
            </a:lvl4pPr>
            <a:lvl5pPr marL="890800" indent="-203200" defTabSz="357708">
              <a:lnSpc>
                <a:spcPct val="140000"/>
              </a:lnSpc>
              <a:spcBef>
                <a:spcPts val="0"/>
              </a:spcBef>
              <a:buClr>
                <a:schemeClr val="tx1"/>
              </a:buClr>
              <a:buSzPct val="100000"/>
              <a:buFont typeface="Wingdings" panose="05000000000000000000" pitchFamily="2" charset="2"/>
              <a:buChar char=""/>
              <a:defRPr sz="1400"/>
            </a:lvl5pPr>
            <a:lvl6pPr marL="1043200" indent="-152400" defTabSz="357708">
              <a:lnSpc>
                <a:spcPct val="140000"/>
              </a:lnSpc>
              <a:buClr>
                <a:schemeClr val="tx1"/>
              </a:buClr>
              <a:buSzPct val="100000"/>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43EB1045-3504-6092-9366-980717E251FA}"/>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extLst>
      <p:ext uri="{BB962C8B-B14F-4D97-AF65-F5344CB8AC3E}">
        <p14:creationId xmlns:p14="http://schemas.microsoft.com/office/powerpoint/2010/main" val="194005781"/>
      </p:ext>
    </p:extLst>
  </p:cSld>
  <p:clrMapOvr>
    <a:masterClrMapping/>
  </p:clrMapOvr>
  <p:transition/>
  <p:hf hdr="0"/>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799"/>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0" kern="1200" cap="none" baseline="0" noProof="0" dirty="0" smtClean="0">
                <a:solidFill>
                  <a:schemeClr val="tx1"/>
                </a:solidFill>
                <a:latin typeface="+mj-lt"/>
                <a:ea typeface="+mj-ea"/>
                <a:cs typeface="+mj-cs"/>
              </a:defRPr>
            </a:lvl1pPr>
          </a:lstStyle>
          <a:p>
            <a:pPr lvl="0"/>
            <a:r>
              <a:rPr lang="en-GB" noProof="0"/>
              <a:t>Click to edit Master title style</a:t>
            </a:r>
            <a:endParaRPr lang="en-GB" noProof="0" dirty="0"/>
          </a:p>
        </p:txBody>
      </p:sp>
      <p:sp>
        <p:nvSpPr>
          <p:cNvPr id="11" name="Content Placeholder 9"/>
          <p:cNvSpPr>
            <a:spLocks noGrp="1"/>
          </p:cNvSpPr>
          <p:nvPr>
            <p:ph sz="quarter" idx="11"/>
          </p:nvPr>
        </p:nvSpPr>
        <p:spPr>
          <a:xfrm>
            <a:off x="765174" y="1686556"/>
            <a:ext cx="10914063" cy="4672967"/>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354200" indent="-177800" defTabSz="357708">
              <a:lnSpc>
                <a:spcPct val="140000"/>
              </a:lnSpc>
              <a:spcBef>
                <a:spcPts val="0"/>
              </a:spcBef>
              <a:buClr>
                <a:schemeClr val="accent2"/>
              </a:buClr>
              <a:buSzPct val="100000"/>
              <a:buFont typeface="Wingdings" panose="05000000000000000000" pitchFamily="2" charset="2"/>
              <a:buChar char=""/>
              <a:defRPr sz="1400"/>
            </a:lvl3pPr>
            <a:lvl4pPr marL="532000" indent="-177800" defTabSz="357708">
              <a:lnSpc>
                <a:spcPct val="140000"/>
              </a:lnSpc>
              <a:spcBef>
                <a:spcPts val="0"/>
              </a:spcBef>
              <a:buClr>
                <a:schemeClr val="tx1"/>
              </a:buClr>
              <a:buSzPct val="100000"/>
              <a:buFont typeface="Wingdings" panose="05000000000000000000" pitchFamily="2" charset="2"/>
              <a:buChar char=""/>
              <a:defRPr sz="1200"/>
            </a:lvl4pPr>
            <a:lvl5pPr marL="684400" indent="-152400" defTabSz="357708">
              <a:lnSpc>
                <a:spcPct val="140000"/>
              </a:lnSpc>
              <a:spcBef>
                <a:spcPts val="0"/>
              </a:spcBef>
              <a:buClr>
                <a:schemeClr val="tx1"/>
              </a:buClr>
              <a:buSzPct val="100000"/>
              <a:buFont typeface="Wingdings" panose="05000000000000000000" pitchFamily="2" charset="2"/>
              <a:buChar char=""/>
              <a:tabLst/>
              <a:defRPr sz="1100"/>
            </a:lvl5pPr>
            <a:lvl6pPr marL="824100" indent="-139700" defTabSz="357708">
              <a:lnSpc>
                <a:spcPct val="140000"/>
              </a:lnSpc>
              <a:buClr>
                <a:schemeClr val="tx1"/>
              </a:buClr>
              <a:buSzPct val="100000"/>
              <a:buFont typeface="Wingdings" panose="05000000000000000000" pitchFamily="2" charset="2"/>
              <a:buChar char=""/>
              <a:defRPr sz="10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4C29F8DA-516B-DC38-C468-8EEE3D1D87A1}"/>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1827" t="31706" r="31262" b="6682"/>
          <a:stretch/>
        </p:blipFill>
        <p:spPr>
          <a:xfrm>
            <a:off x="9355015" y="0"/>
            <a:ext cx="2831124" cy="2606898"/>
          </a:xfrm>
          <a:prstGeom prst="rect">
            <a:avLst/>
          </a:prstGeom>
        </p:spPr>
      </p:pic>
      <p:sp>
        <p:nvSpPr>
          <p:cNvPr id="34"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0" kern="1200" cap="none" baseline="0" noProof="0" dirty="0" smtClean="0">
                <a:solidFill>
                  <a:schemeClr val="tx1"/>
                </a:solidFill>
                <a:latin typeface="+mj-lt"/>
                <a:ea typeface="+mj-ea"/>
                <a:cs typeface="+mj-cs"/>
              </a:defRPr>
            </a:lvl1pPr>
          </a:lstStyle>
          <a:p>
            <a:pPr lvl="0"/>
            <a:r>
              <a:rPr lang="en-GB"/>
              <a:t>Click to edit Master title style</a:t>
            </a:r>
            <a:endParaRPr lang="en-GB" dirty="0"/>
          </a:p>
        </p:txBody>
      </p:sp>
      <p:sp>
        <p:nvSpPr>
          <p:cNvPr id="10" name="Content Placeholder 14"/>
          <p:cNvSpPr>
            <a:spLocks noGrp="1"/>
          </p:cNvSpPr>
          <p:nvPr>
            <p:ph sz="quarter" idx="13"/>
          </p:nvPr>
        </p:nvSpPr>
        <p:spPr>
          <a:xfrm>
            <a:off x="6472014" y="1666800"/>
            <a:ext cx="5207223" cy="4694237"/>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75000"/>
              <a:buFont typeface="Wingdings" panose="05000000000000000000" pitchFamily="2" charset="2"/>
              <a:buChar char="¢"/>
              <a:defRPr sz="1800"/>
            </a:lvl2pPr>
            <a:lvl3pPr marL="459000" indent="-228600">
              <a:spcBef>
                <a:spcPts val="0"/>
              </a:spcBef>
              <a:spcAft>
                <a:spcPts val="0"/>
              </a:spcAft>
              <a:buClr>
                <a:schemeClr val="accent2"/>
              </a:buClr>
              <a:buFont typeface="Wingdings" panose="05000000000000000000" pitchFamily="2" charset="2"/>
              <a:buChar char=""/>
              <a:defRPr sz="1800"/>
            </a:lvl3pPr>
            <a:lvl4pPr marL="687600" indent="-228600">
              <a:spcBef>
                <a:spcPts val="0"/>
              </a:spcBef>
              <a:spcAft>
                <a:spcPts val="0"/>
              </a:spcAft>
              <a:buClr>
                <a:schemeClr val="tx1"/>
              </a:buClr>
              <a:buFont typeface="Wingdings" panose="05000000000000000000" pitchFamily="2" charset="2"/>
              <a:buChar char=""/>
              <a:defRPr sz="1800"/>
            </a:lvl4pPr>
            <a:lvl5pPr marL="890800" indent="-203200">
              <a:spcBef>
                <a:spcPts val="0"/>
              </a:spcBef>
              <a:spcAft>
                <a:spcPts val="0"/>
              </a:spcAft>
              <a:buClr>
                <a:schemeClr val="tx1"/>
              </a:buClr>
              <a:buFont typeface="Wingdings" panose="05000000000000000000" pitchFamily="2" charset="2"/>
              <a:buChar char=""/>
              <a:defRPr sz="1600"/>
            </a:lvl5pPr>
            <a:lvl6pPr marL="1043200" indent="-152400">
              <a:spcBef>
                <a:spcPts val="0"/>
              </a:spcBef>
              <a:spcAft>
                <a:spcPts val="0"/>
              </a:spcAft>
              <a:buClr>
                <a:schemeClr val="tx1"/>
              </a:buClr>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Text Placeholder 43"/>
          <p:cNvSpPr>
            <a:spLocks noGrp="1"/>
          </p:cNvSpPr>
          <p:nvPr>
            <p:ph type="body" sz="quarter" idx="11"/>
          </p:nvPr>
        </p:nvSpPr>
        <p:spPr>
          <a:xfrm>
            <a:off x="765174" y="1666800"/>
            <a:ext cx="5211763" cy="4694239"/>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75000"/>
              <a:buFont typeface="Wingdings" panose="05000000000000000000" pitchFamily="2" charset="2"/>
              <a:buChar char=""/>
              <a:defRPr sz="1800"/>
            </a:lvl2pPr>
            <a:lvl3pPr marL="459000" indent="-228600">
              <a:spcAft>
                <a:spcPts val="0"/>
              </a:spcAft>
              <a:buClr>
                <a:schemeClr val="accent2"/>
              </a:buClr>
              <a:buFont typeface="Wingdings" panose="05000000000000000000" pitchFamily="2" charset="2"/>
              <a:buChar char=""/>
              <a:defRPr sz="1800"/>
            </a:lvl3pPr>
            <a:lvl4pPr marL="687600" indent="-228600">
              <a:spcBef>
                <a:spcPts val="0"/>
              </a:spcBef>
              <a:spcAft>
                <a:spcPts val="0"/>
              </a:spcAft>
              <a:buClr>
                <a:schemeClr val="tx1"/>
              </a:buClr>
              <a:buFont typeface="Wingdings" panose="05000000000000000000" pitchFamily="2" charset="2"/>
              <a:buChar char=""/>
              <a:defRPr sz="1800"/>
            </a:lvl4pPr>
            <a:lvl5pPr marL="890800" indent="-203200">
              <a:spcBef>
                <a:spcPts val="0"/>
              </a:spcBef>
              <a:spcAft>
                <a:spcPts val="0"/>
              </a:spcAft>
              <a:buClr>
                <a:schemeClr val="tx1"/>
              </a:buClr>
              <a:buFont typeface="Wingdings" panose="05000000000000000000" pitchFamily="2" charset="2"/>
              <a:buChar char=""/>
              <a:defRPr sz="1600"/>
            </a:lvl5pPr>
            <a:lvl6pPr marL="1043200" indent="-152400">
              <a:spcBef>
                <a:spcPts val="0"/>
              </a:spcBef>
              <a:spcAft>
                <a:spcPts val="0"/>
              </a:spcAft>
              <a:buClr>
                <a:schemeClr val="tx1"/>
              </a:buClr>
              <a:buFont typeface="Wingdings" panose="05000000000000000000"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2" name="TextBox 1" descr="CONFIDENTIAL_TAG_0xFFEE">
            <a:extLst>
              <a:ext uri="{FF2B5EF4-FFF2-40B4-BE49-F238E27FC236}">
                <a16:creationId xmlns:a16="http://schemas.microsoft.com/office/drawing/2014/main" id="{3DCA6EF9-4565-EE2E-55D0-52593BF3D697}"/>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INTERNAL</a:t>
            </a:r>
            <a:endPar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endParaRPr>
          </a:p>
        </p:txBody>
      </p:sp>
    </p:spTree>
  </p:cSld>
  <p:clrMapOvr>
    <a:masterClrMapping/>
  </p:clrMapOvr>
  <p:transition/>
  <p:hf hdr="0"/>
  <p:extLst>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2.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765175" y="1665289"/>
            <a:ext cx="10914062" cy="469418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2"/>
          <p:cNvSpPr>
            <a:spLocks noGrp="1" noChangeArrowheads="1"/>
          </p:cNvSpPr>
          <p:nvPr>
            <p:ph type="title"/>
          </p:nvPr>
        </p:nvSpPr>
        <p:spPr bwMode="auto">
          <a:xfrm>
            <a:off x="508000" y="712800"/>
            <a:ext cx="11171238" cy="8080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a:t>Click to edit Master title style</a:t>
            </a:r>
            <a:endParaRPr lang="en-GB" dirty="0"/>
          </a:p>
        </p:txBody>
      </p:sp>
      <p:sp>
        <p:nvSpPr>
          <p:cNvPr id="4" name="Rectangle 3" descr="&lt;Shell Yellow Bar&gt;" title="&lt;Shell Yellow Bar&gt;"/>
          <p:cNvSpPr/>
          <p:nvPr userDrawn="1"/>
        </p:nvSpPr>
        <p:spPr bwMode="gray">
          <a:xfrm>
            <a:off x="-6201" y="508000"/>
            <a:ext cx="1269984" cy="38100"/>
          </a:xfrm>
          <a:prstGeom prst="rect">
            <a:avLst/>
          </a:prstGeom>
          <a:solidFill>
            <a:srgbClr val="FFC60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noProof="1"/>
              <a:t>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January 2024</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SPDC</a:t>
            </a:r>
          </a:p>
        </p:txBody>
      </p:sp>
      <p:sp>
        <p:nvSpPr>
          <p:cNvPr id="95" name="Rectangle 94" descr="&lt;Shell Yellow Bar&gt;" title="&lt;Shell Yellow Bar&gt;"/>
          <p:cNvSpPr/>
          <p:nvPr userDrawn="1"/>
        </p:nvSpPr>
        <p:spPr bwMode="gray">
          <a:xfrm>
            <a:off x="-3222" y="6820523"/>
            <a:ext cx="12193200" cy="38100"/>
          </a:xfrm>
          <a:prstGeom prst="rect">
            <a:avLst/>
          </a:prstGeom>
          <a:solidFill>
            <a:srgbClr val="FFC60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705" r:id="rId6"/>
    <p:sldLayoutId id="2147483699" r:id="rId7"/>
    <p:sldLayoutId id="2147483691" r:id="rId8"/>
    <p:sldLayoutId id="2147483667" r:id="rId9"/>
    <p:sldLayoutId id="2147483692" r:id="rId10"/>
    <p:sldLayoutId id="2147483704" r:id="rId11"/>
    <p:sldLayoutId id="2147483694" r:id="rId12"/>
    <p:sldLayoutId id="2147483702" r:id="rId13"/>
    <p:sldLayoutId id="2147483703" r:id="rId14"/>
    <p:sldLayoutId id="2147483680" r:id="rId15"/>
    <p:sldLayoutId id="2147483697" r:id="rId16"/>
    <p:sldLayoutId id="2147483678" r:id="rId17"/>
    <p:sldLayoutId id="2147483700" r:id="rId18"/>
    <p:sldLayoutId id="2147483681" r:id="rId19"/>
    <p:sldLayoutId id="2147483701" r:id="rId20"/>
    <p:sldLayoutId id="2147483682" r:id="rId21"/>
    <p:sldLayoutId id="2147483683" r:id="rId22"/>
  </p:sldLayoutIdLst>
  <p:transition>
    <p:fade/>
  </p:transition>
  <p:hf hdr="0"/>
  <p:txStyles>
    <p:titleStyle>
      <a:lvl1pPr algn="l" defTabSz="1219170" rtl="0" eaLnBrk="1" latinLnBrk="0" hangingPunct="1">
        <a:lnSpc>
          <a:spcPct val="90000"/>
        </a:lnSpc>
        <a:spcBef>
          <a:spcPct val="0"/>
        </a:spcBef>
        <a:buNone/>
        <a:defRPr sz="28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75000"/>
        <a:buFont typeface="Wingdings" panose="05000000000000000000" pitchFamily="2" charset="2"/>
        <a:buChar char=""/>
        <a:defRPr sz="1800" b="0" kern="1200">
          <a:solidFill>
            <a:schemeClr val="tx1"/>
          </a:solidFill>
          <a:latin typeface="+mn-lt"/>
          <a:ea typeface="+mn-ea"/>
          <a:cs typeface="+mn-cs"/>
        </a:defRPr>
      </a:lvl2pPr>
      <a:lvl3pPr marL="459000" indent="-228600" algn="l" defTabSz="357708" rtl="0" eaLnBrk="1" latinLnBrk="0" hangingPunct="1">
        <a:lnSpc>
          <a:spcPct val="140000"/>
        </a:lnSpc>
        <a:spcBef>
          <a:spcPts val="0"/>
        </a:spcBef>
        <a:spcAft>
          <a:spcPts val="0"/>
        </a:spcAft>
        <a:buClr>
          <a:schemeClr val="accent2"/>
        </a:buClr>
        <a:buSzPct val="100000"/>
        <a:buFont typeface="Wingdings" panose="05000000000000000000" pitchFamily="2" charset="2"/>
        <a:buChar char=""/>
        <a:defRPr sz="1800" b="0" kern="1200">
          <a:solidFill>
            <a:schemeClr val="tx1"/>
          </a:solidFill>
          <a:latin typeface="+mn-lt"/>
          <a:ea typeface="+mn-ea"/>
          <a:cs typeface="+mn-cs"/>
        </a:defRPr>
      </a:lvl3pPr>
      <a:lvl4pPr marL="687600" indent="-228600" algn="l" defTabSz="357708"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600" b="0" kern="1200" baseline="0">
          <a:solidFill>
            <a:schemeClr val="tx1"/>
          </a:solidFill>
          <a:latin typeface="+mn-lt"/>
          <a:ea typeface="+mn-ea"/>
          <a:cs typeface="+mn-cs"/>
        </a:defRPr>
      </a:lvl4pPr>
      <a:lvl5pPr marL="890800" indent="-203200" algn="l" defTabSz="357708"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400" kern="1200">
          <a:solidFill>
            <a:schemeClr val="tx1"/>
          </a:solidFill>
          <a:latin typeface="+mn-lt"/>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100000"/>
        <a:buFont typeface="Wingdings" panose="05000000000000000000"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44" userDrawn="1">
          <p15:clr>
            <a:srgbClr val="F26B43"/>
          </p15:clr>
        </p15:guide>
        <p15:guide id="5" orient="horz" pos="1049" userDrawn="1">
          <p15:clr>
            <a:srgbClr val="F26B43"/>
          </p15:clr>
        </p15:guide>
        <p15:guide id="6" orient="horz" pos="95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18" userDrawn="1">
          <p15:clr>
            <a:srgbClr val="F26B43"/>
          </p15:clr>
        </p15:guide>
        <p15:guide id="14" orient="horz" pos="4225" userDrawn="1">
          <p15:clr>
            <a:srgbClr val="F26B43"/>
          </p15:clr>
        </p15:guide>
        <p15:guide id="15" pos="482" userDrawn="1">
          <p15:clr>
            <a:srgbClr val="F26B43"/>
          </p15:clr>
        </p15:guide>
        <p15:guide id="16" pos="642" userDrawn="1">
          <p15:clr>
            <a:srgbClr val="F26B43"/>
          </p15:clr>
        </p15:guide>
        <p15:guide id="17" orient="horz" pos="111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673100" y="1556950"/>
            <a:ext cx="10845800" cy="469449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673101" y="728664"/>
            <a:ext cx="10845801" cy="755649"/>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68" name="Rectangle 67"/>
          <p:cNvSpPr/>
          <p:nvPr/>
        </p:nvSpPr>
        <p:spPr bwMode="gray">
          <a:xfrm>
            <a:off x="677347" y="508000"/>
            <a:ext cx="1693312"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sz="2400" dirty="0">
              <a:solidFill>
                <a:schemeClr val="tx1"/>
              </a:solidFill>
            </a:endParaRPr>
          </a:p>
        </p:txBody>
      </p:sp>
      <p:sp>
        <p:nvSpPr>
          <p:cNvPr id="69" name="Text Box 11" descr="&lt;COMPANY_NAME&gt;" title="&lt;COMPANY_NAME&gt;"/>
          <p:cNvSpPr txBox="1">
            <a:spLocks noChangeArrowheads="1"/>
          </p:cNvSpPr>
          <p:nvPr/>
        </p:nvSpPr>
        <p:spPr bwMode="auto">
          <a:xfrm>
            <a:off x="677186" y="6478119"/>
            <a:ext cx="3047405" cy="237744"/>
          </a:xfrm>
          <a:prstGeom prst="rect">
            <a:avLst/>
          </a:prstGeom>
          <a:noFill/>
          <a:ln w="9525" algn="ctr">
            <a:noFill/>
            <a:miter lim="800000"/>
            <a:headEnd/>
            <a:tailEnd/>
          </a:ln>
          <a:effectLst/>
        </p:spPr>
        <p:txBody>
          <a:bodyPr wrap="none" lIns="0" tIns="0" rIns="0" anchor="t" anchorCtr="0">
            <a:noAutofit/>
          </a:bodyPr>
          <a:lstStyle/>
          <a:p>
            <a:pPr>
              <a:defRPr/>
            </a:pPr>
            <a:r>
              <a:rPr lang="en-US" sz="800" dirty="0">
                <a:solidFill>
                  <a:schemeClr val="tx1"/>
                </a:solidFill>
                <a:latin typeface="+mn-lt"/>
                <a:cs typeface="Arial" pitchFamily="34" charset="0"/>
              </a:rPr>
              <a:t>Copyright of Shell Petroleum and Development Company</a:t>
            </a:r>
            <a:endParaRPr lang="en-GB" sz="800" dirty="0">
              <a:solidFill>
                <a:schemeClr val="tx1"/>
              </a:solidFill>
              <a:latin typeface="+mn-lt"/>
              <a:cs typeface="Arial" pitchFamily="34" charset="0"/>
            </a:endParaRPr>
          </a:p>
        </p:txBody>
      </p:sp>
      <p:sp>
        <p:nvSpPr>
          <p:cNvPr id="70" name="Rectangle 6" descr="Rectangle 6"/>
          <p:cNvSpPr>
            <a:spLocks noGrp="1" noChangeArrowheads="1"/>
          </p:cNvSpPr>
          <p:nvPr>
            <p:ph type="sldNum" sz="quarter" idx="4"/>
          </p:nvPr>
        </p:nvSpPr>
        <p:spPr bwMode="auto">
          <a:xfrm>
            <a:off x="11170113" y="6478119"/>
            <a:ext cx="355564"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71" name="Rectangle 4" descr="Rectangle 4"/>
          <p:cNvSpPr>
            <a:spLocks noGrp="1" noChangeArrowheads="1"/>
          </p:cNvSpPr>
          <p:nvPr>
            <p:ph type="dt" sz="half" idx="2"/>
          </p:nvPr>
        </p:nvSpPr>
        <p:spPr bwMode="auto">
          <a:xfrm>
            <a:off x="9604916" y="6478119"/>
            <a:ext cx="1440000" cy="237744"/>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a:t>July 2016</a:t>
            </a:r>
            <a:endParaRPr lang="en-GB" dirty="0"/>
          </a:p>
        </p:txBody>
      </p:sp>
      <p:sp>
        <p:nvSpPr>
          <p:cNvPr id="72" name="Rectangle 5"/>
          <p:cNvSpPr>
            <a:spLocks noGrp="1" noChangeArrowheads="1"/>
          </p:cNvSpPr>
          <p:nvPr>
            <p:ph type="ftr" sz="quarter" idx="3"/>
          </p:nvPr>
        </p:nvSpPr>
        <p:spPr bwMode="auto">
          <a:xfrm>
            <a:off x="3898231" y="6478119"/>
            <a:ext cx="4400884" cy="237744"/>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pPr>
              <a:defRPr/>
            </a:pPr>
            <a:r>
              <a:rPr lang="en-GB" dirty="0"/>
              <a:t>Footer</a:t>
            </a:r>
          </a:p>
        </p:txBody>
      </p:sp>
    </p:spTree>
    <p:extLst>
      <p:ext uri="{BB962C8B-B14F-4D97-AF65-F5344CB8AC3E}">
        <p14:creationId xmlns:p14="http://schemas.microsoft.com/office/powerpoint/2010/main" val="214430180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Lst>
  <p:transition>
    <p:fade/>
  </p:transition>
  <p:hf hdr="0"/>
  <p:txStyles>
    <p:titleStyle>
      <a:lvl1pPr algn="l" defTabSz="914400" rtl="0" eaLnBrk="1" latinLnBrk="0" hangingPunct="1">
        <a:spcBef>
          <a:spcPct val="0"/>
        </a:spcBef>
        <a:buNone/>
        <a:defRPr lang="en-GB" sz="2400" b="0" kern="1200" cap="none" baseline="0" dirty="0" smtClean="0">
          <a:solidFill>
            <a:schemeClr val="tx1"/>
          </a:solidFill>
          <a:latin typeface="+mj-lt"/>
          <a:ea typeface="+mj-ea"/>
          <a:cs typeface="+mj-cs"/>
        </a:defRPr>
      </a:lvl1pPr>
    </p:titleStyle>
    <p:bodyStyle>
      <a:lvl1pPr marL="0" indent="0" algn="l" defTabSz="268288" rtl="0" eaLnBrk="1" latinLnBrk="0" hangingPunct="1">
        <a:lnSpc>
          <a:spcPct val="140000"/>
        </a:lnSpc>
        <a:spcBef>
          <a:spcPts val="0"/>
        </a:spcBef>
        <a:spcAft>
          <a:spcPts val="0"/>
        </a:spcAft>
        <a:buClr>
          <a:schemeClr val="accent2"/>
        </a:buClr>
        <a:buSzPct val="85000"/>
        <a:buFont typeface="Wingdings" pitchFamily="2" charset="2"/>
        <a:buNone/>
        <a:defRPr sz="2000" kern="1200" baseline="0">
          <a:solidFill>
            <a:schemeClr val="tx1"/>
          </a:solidFill>
          <a:latin typeface="+mn-lt"/>
          <a:ea typeface="+mn-ea"/>
          <a:cs typeface="+mn-cs"/>
        </a:defRPr>
      </a:lvl1pPr>
      <a:lvl2pPr marL="277200" indent="-277200" algn="l" defTabSz="268288" rtl="0" eaLnBrk="1" latinLnBrk="0" hangingPunct="1">
        <a:lnSpc>
          <a:spcPct val="140000"/>
        </a:lnSpc>
        <a:spcBef>
          <a:spcPts val="0"/>
        </a:spcBef>
        <a:spcAft>
          <a:spcPts val="0"/>
        </a:spcAft>
        <a:buClr>
          <a:schemeClr val="accent2"/>
        </a:buClr>
        <a:buSzPct val="85000"/>
        <a:buFont typeface="Wingdings" pitchFamily="2" charset="2"/>
        <a:buChar char="n"/>
        <a:defRPr sz="2000" b="0" kern="1200">
          <a:solidFill>
            <a:schemeClr val="tx1"/>
          </a:solidFill>
          <a:latin typeface="+mn-lt"/>
          <a:ea typeface="+mn-ea"/>
          <a:cs typeface="+mn-cs"/>
        </a:defRPr>
      </a:lvl2pPr>
      <a:lvl3pPr marL="522000" indent="-252000" algn="l" defTabSz="268288" rtl="0" eaLnBrk="1" latinLnBrk="0" hangingPunct="1">
        <a:lnSpc>
          <a:spcPct val="140000"/>
        </a:lnSpc>
        <a:spcBef>
          <a:spcPts val="0"/>
        </a:spcBef>
        <a:spcAft>
          <a:spcPts val="0"/>
        </a:spcAft>
        <a:buClr>
          <a:schemeClr val="tx1"/>
        </a:buClr>
        <a:buSzPct val="75000"/>
        <a:buFont typeface="Wingdings" pitchFamily="2" charset="2"/>
        <a:buChar char=""/>
        <a:defRPr sz="2000" b="0" kern="1200">
          <a:solidFill>
            <a:schemeClr val="tx1"/>
          </a:solidFill>
          <a:latin typeface="+mn-lt"/>
          <a:ea typeface="+mn-ea"/>
          <a:cs typeface="+mn-cs"/>
        </a:defRPr>
      </a:lvl3pPr>
      <a:lvl4pPr marL="756000" indent="-241200" algn="l" defTabSz="268288" rtl="0" eaLnBrk="1" latinLnBrk="0" hangingPunct="1">
        <a:lnSpc>
          <a:spcPct val="140000"/>
        </a:lnSpc>
        <a:spcBef>
          <a:spcPts val="0"/>
        </a:spcBef>
        <a:spcAft>
          <a:spcPts val="0"/>
        </a:spcAft>
        <a:buClr>
          <a:schemeClr val="tx1"/>
        </a:buClr>
        <a:buSzPct val="75000"/>
        <a:buFont typeface="Wingdings" pitchFamily="2" charset="2"/>
        <a:buChar char=""/>
        <a:defRPr sz="2000" b="0" kern="1200" baseline="0">
          <a:solidFill>
            <a:schemeClr val="tx1"/>
          </a:solidFill>
          <a:latin typeface="+mn-lt"/>
          <a:ea typeface="+mn-ea"/>
          <a:cs typeface="+mn-cs"/>
        </a:defRPr>
      </a:lvl4pPr>
      <a:lvl5pPr marL="964800" indent="-212400" algn="l" defTabSz="268288" rtl="0" eaLnBrk="1" latinLnBrk="0" hangingPunct="1">
        <a:lnSpc>
          <a:spcPct val="140000"/>
        </a:lnSpc>
        <a:spcBef>
          <a:spcPts val="0"/>
        </a:spcBef>
        <a:spcAft>
          <a:spcPts val="0"/>
        </a:spcAft>
        <a:buClr>
          <a:schemeClr val="tx1"/>
        </a:buClr>
        <a:buSzPct val="75000"/>
        <a:buFont typeface="Wingdings" pitchFamily="2" charset="2"/>
        <a:buChar char=""/>
        <a:defRPr sz="1800" kern="1200">
          <a:solidFill>
            <a:schemeClr val="tx1"/>
          </a:solidFill>
          <a:latin typeface="+mn-lt"/>
          <a:ea typeface="+mn-ea"/>
          <a:cs typeface="+mn-cs"/>
        </a:defRPr>
      </a:lvl5pPr>
      <a:lvl6pPr marL="1144800" indent="-180000" algn="l" defTabSz="268288" rtl="0" eaLnBrk="1" latinLnBrk="0" hangingPunct="1">
        <a:lnSpc>
          <a:spcPct val="140000"/>
        </a:lnSpc>
        <a:spcBef>
          <a:spcPts val="0"/>
        </a:spcBef>
        <a:spcAft>
          <a:spcPts val="0"/>
        </a:spcAft>
        <a:buClr>
          <a:schemeClr val="tx1"/>
        </a:buClr>
        <a:buSzPct val="75000"/>
        <a:buFont typeface="Wingdings" pitchFamily="2" charset="2"/>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8">
          <p15:clr>
            <a:srgbClr val="F26B43"/>
          </p15:clr>
        </p15:guide>
        <p15:guide id="3" pos="2880">
          <p15:clr>
            <a:srgbClr val="F26B43"/>
          </p15:clr>
        </p15:guide>
        <p15:guide id="4" pos="5442">
          <p15:clr>
            <a:srgbClr val="F26B43"/>
          </p15:clr>
        </p15:guide>
        <p15:guide id="5" orient="horz" pos="323">
          <p15:clr>
            <a:srgbClr val="F26B43"/>
          </p15:clr>
        </p15:guide>
        <p15:guide id="6" orient="horz" pos="368">
          <p15:clr>
            <a:srgbClr val="F26B43"/>
          </p15:clr>
        </p15:guide>
        <p15:guide id="7" orient="horz" pos="459">
          <p15:clr>
            <a:srgbClr val="F26B43"/>
          </p15:clr>
        </p15:guide>
        <p15:guide id="8" orient="horz" pos="935">
          <p15:clr>
            <a:srgbClr val="F26B43"/>
          </p15:clr>
        </p15:guide>
        <p15:guide id="9" orient="horz" pos="981">
          <p15:clr>
            <a:srgbClr val="F26B43"/>
          </p15:clr>
        </p15:guide>
        <p15:guide id="10" orient="horz" pos="3938">
          <p15:clr>
            <a:srgbClr val="F26B43"/>
          </p15:clr>
        </p15:guide>
        <p15:guide id="11" orient="horz" pos="4078">
          <p15:clr>
            <a:srgbClr val="F26B43"/>
          </p15:clr>
        </p15:guide>
        <p15:guide id="12" orient="horz" pos="4229">
          <p15:clr>
            <a:srgbClr val="F26B43"/>
          </p15:clr>
        </p15:guide>
        <p15:guide id="13" pos="1111">
          <p15:clr>
            <a:srgbClr val="F26B43"/>
          </p15:clr>
        </p15:guide>
        <p15:guide id="14" pos="2971">
          <p15:clr>
            <a:srgbClr val="F26B43"/>
          </p15:clr>
        </p15:guide>
        <p15:guide id="15" pos="27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openxmlformats.org/officeDocument/2006/relationships/image" Target="../media/image36.emf"/><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1.xml"/><Relationship Id="rId5" Type="http://schemas.openxmlformats.org/officeDocument/2006/relationships/image" Target="../media/image43.png"/><Relationship Id="rId4" Type="http://schemas.openxmlformats.org/officeDocument/2006/relationships/image" Target="../media/image42.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GB" dirty="0"/>
              <a:t>SPDC OPEX Cost Improvement</a:t>
            </a:r>
          </a:p>
        </p:txBody>
      </p:sp>
      <p:sp>
        <p:nvSpPr>
          <p:cNvPr id="17" name="Subtitle 16"/>
          <p:cNvSpPr>
            <a:spLocks noGrp="1"/>
          </p:cNvSpPr>
          <p:nvPr>
            <p:ph type="subTitle" idx="1"/>
          </p:nvPr>
        </p:nvSpPr>
        <p:spPr/>
        <p:txBody>
          <a:bodyPr/>
          <a:lstStyle/>
          <a:p>
            <a:r>
              <a:rPr lang="en-GB" dirty="0"/>
              <a:t>Eliminating Demurrage in SPDC Terminals</a:t>
            </a:r>
          </a:p>
        </p:txBody>
      </p:sp>
      <p:sp>
        <p:nvSpPr>
          <p:cNvPr id="18" name="Text Placeholder 17"/>
          <p:cNvSpPr>
            <a:spLocks noGrp="1"/>
          </p:cNvSpPr>
          <p:nvPr>
            <p:ph type="body" sz="quarter" idx="10"/>
          </p:nvPr>
        </p:nvSpPr>
        <p:spPr/>
        <p:txBody>
          <a:bodyPr/>
          <a:lstStyle/>
          <a:p>
            <a:r>
              <a:rPr lang="en-GB" dirty="0"/>
              <a:t>Sponsor: Mesh Maichibi</a:t>
            </a:r>
          </a:p>
        </p:txBody>
      </p:sp>
      <p:sp>
        <p:nvSpPr>
          <p:cNvPr id="19" name="Text Placeholder 18"/>
          <p:cNvSpPr>
            <a:spLocks noGrp="1"/>
          </p:cNvSpPr>
          <p:nvPr>
            <p:ph type="body" sz="quarter" idx="11"/>
          </p:nvPr>
        </p:nvSpPr>
        <p:spPr/>
        <p:txBody>
          <a:bodyPr/>
          <a:lstStyle/>
          <a:p>
            <a:r>
              <a:rPr lang="en-GB" dirty="0"/>
              <a:t>Asset Manager, West, SPDC Performance Unit</a:t>
            </a:r>
          </a:p>
        </p:txBody>
      </p:sp>
      <p:sp>
        <p:nvSpPr>
          <p:cNvPr id="4" name="Slide Number Placeholder 3"/>
          <p:cNvSpPr>
            <a:spLocks noGrp="1"/>
          </p:cNvSpPr>
          <p:nvPr>
            <p:ph type="sldNum" sz="quarter" idx="4"/>
          </p:nvPr>
        </p:nvSpPr>
        <p:spPr/>
        <p:txBody>
          <a:bodyPr/>
          <a:lstStyle/>
          <a:p>
            <a:fld id="{D32BAE6A-B452-4007-8177-56DD051636F9}" type="slidenum">
              <a:rPr lang="en-GB" noProof="1" smtClean="0"/>
              <a:pPr/>
              <a:t>1</a:t>
            </a:fld>
            <a:endParaRPr lang="en-GB" noProof="1"/>
          </a:p>
        </p:txBody>
      </p:sp>
      <p:sp>
        <p:nvSpPr>
          <p:cNvPr id="2" name="Date Placeholder 1"/>
          <p:cNvSpPr>
            <a:spLocks noGrp="1"/>
          </p:cNvSpPr>
          <p:nvPr>
            <p:ph type="dt" sz="half" idx="2"/>
          </p:nvPr>
        </p:nvSpPr>
        <p:spPr/>
        <p:txBody>
          <a:bodyPr/>
          <a:lstStyle/>
          <a:p>
            <a:r>
              <a:rPr lang="en-GB" noProof="1"/>
              <a:t>January 2024</a:t>
            </a:r>
          </a:p>
        </p:txBody>
      </p:sp>
      <p:sp>
        <p:nvSpPr>
          <p:cNvPr id="3" name="Footer Placeholder 2"/>
          <p:cNvSpPr>
            <a:spLocks noGrp="1"/>
          </p:cNvSpPr>
          <p:nvPr>
            <p:ph type="ftr" sz="quarter" idx="3"/>
          </p:nvPr>
        </p:nvSpPr>
        <p:spPr/>
        <p:txBody>
          <a:bodyPr/>
          <a:lstStyle/>
          <a:p>
            <a:r>
              <a:rPr lang="en-GB" noProof="1"/>
              <a:t> </a:t>
            </a:r>
          </a:p>
        </p:txBody>
      </p:sp>
      <p:pic>
        <p:nvPicPr>
          <p:cNvPr id="8" name="Picture 7">
            <a:extLst>
              <a:ext uri="{FF2B5EF4-FFF2-40B4-BE49-F238E27FC236}">
                <a16:creationId xmlns:a16="http://schemas.microsoft.com/office/drawing/2014/main" id="{861E31DB-0C52-2303-6D2A-9ECC0F69FA80}"/>
              </a:ext>
            </a:extLst>
          </p:cNvPr>
          <p:cNvPicPr>
            <a:picLocks noChangeAspect="1"/>
          </p:cNvPicPr>
          <p:nvPr/>
        </p:nvPicPr>
        <p:blipFill>
          <a:blip r:embed="rId3"/>
          <a:stretch>
            <a:fillRect/>
          </a:stretch>
        </p:blipFill>
        <p:spPr>
          <a:xfrm>
            <a:off x="5848351" y="151200"/>
            <a:ext cx="6180988" cy="6262249"/>
          </a:xfrm>
          <a:prstGeom prst="rect">
            <a:avLst/>
          </a:prstGeom>
        </p:spPr>
      </p:pic>
    </p:spTree>
    <p:extLst>
      <p:ext uri="{BB962C8B-B14F-4D97-AF65-F5344CB8AC3E}">
        <p14:creationId xmlns:p14="http://schemas.microsoft.com/office/powerpoint/2010/main" val="391370637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2028545" y="728664"/>
            <a:ext cx="8134630" cy="627439"/>
          </a:xfrm>
        </p:spPr>
        <p:txBody>
          <a:bodyPr/>
          <a:lstStyle/>
          <a:p>
            <a:r>
              <a:rPr lang="en-GB" dirty="0"/>
              <a:t>DEMURRAGE OVERVIEW - BONGA</a:t>
            </a:r>
          </a:p>
        </p:txBody>
      </p:sp>
      <p:sp>
        <p:nvSpPr>
          <p:cNvPr id="7" name="Slide Number Placeholder 6"/>
          <p:cNvSpPr>
            <a:spLocks noGrp="1"/>
          </p:cNvSpPr>
          <p:nvPr>
            <p:ph type="sldNum" sz="quarter" idx="4"/>
          </p:nvPr>
        </p:nvSpPr>
        <p:spPr/>
        <p:txBody>
          <a:bodyPr/>
          <a:lstStyle/>
          <a:p>
            <a:pPr defTabSz="914400"/>
            <a:fld id="{D32BAE6A-B452-4007-8177-56DD051636F9}" type="slidenum">
              <a:rPr lang="en-GB">
                <a:solidFill>
                  <a:srgbClr val="595959"/>
                </a:solidFill>
                <a:latin typeface="Futura Medium"/>
              </a:rPr>
              <a:pPr defTabSz="914400"/>
              <a:t>10</a:t>
            </a:fld>
            <a:endParaRPr lang="en-GB" dirty="0">
              <a:solidFill>
                <a:srgbClr val="595959"/>
              </a:solidFill>
              <a:latin typeface="Futura Medium"/>
            </a:endParaRPr>
          </a:p>
        </p:txBody>
      </p:sp>
      <p:sp>
        <p:nvSpPr>
          <p:cNvPr id="5" name="Date Placeholder 4"/>
          <p:cNvSpPr>
            <a:spLocks noGrp="1"/>
          </p:cNvSpPr>
          <p:nvPr>
            <p:ph type="dt" sz="half" idx="2"/>
          </p:nvPr>
        </p:nvSpPr>
        <p:spPr>
          <a:xfrm>
            <a:off x="8821584" y="6574610"/>
            <a:ext cx="1080000" cy="237744"/>
          </a:xfrm>
        </p:spPr>
        <p:txBody>
          <a:bodyPr/>
          <a:lstStyle/>
          <a:p>
            <a:pPr defTabSz="914400"/>
            <a:r>
              <a:rPr lang="en-US" sz="700" b="1" dirty="0">
                <a:solidFill>
                  <a:srgbClr val="595959"/>
                </a:solidFill>
                <a:latin typeface="Futura Medium"/>
              </a:rPr>
              <a:t>JANUARY 2024</a:t>
            </a:r>
            <a:r>
              <a:rPr lang="en-US" sz="900" b="1" dirty="0">
                <a:solidFill>
                  <a:srgbClr val="595959"/>
                </a:solidFill>
                <a:latin typeface="Futura Medium"/>
              </a:rPr>
              <a:t> </a:t>
            </a:r>
            <a:endParaRPr lang="en-GB" sz="900" b="1" dirty="0">
              <a:solidFill>
                <a:srgbClr val="595959"/>
              </a:solidFill>
              <a:latin typeface="Futura Medium"/>
            </a:endParaRPr>
          </a:p>
        </p:txBody>
      </p:sp>
      <p:sp>
        <p:nvSpPr>
          <p:cNvPr id="10" name="Content Placeholder 7"/>
          <p:cNvSpPr txBox="1">
            <a:spLocks/>
          </p:cNvSpPr>
          <p:nvPr/>
        </p:nvSpPr>
        <p:spPr bwMode="auto">
          <a:xfrm>
            <a:off x="1686973" y="1221765"/>
            <a:ext cx="8712217" cy="511956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lvl="1" defTabSz="268288">
              <a:lnSpc>
                <a:spcPct val="120000"/>
              </a:lnSpc>
              <a:spcAft>
                <a:spcPts val="600"/>
              </a:spcAft>
              <a:buClr>
                <a:srgbClr val="DD1D21"/>
              </a:buClr>
              <a:buSzPct val="85000"/>
              <a:defRPr/>
            </a:pPr>
            <a:endParaRPr lang="en-GB" sz="1600" dirty="0">
              <a:solidFill>
                <a:srgbClr val="595959"/>
              </a:solidFill>
              <a:latin typeface="Futura Medium"/>
            </a:endParaRPr>
          </a:p>
        </p:txBody>
      </p:sp>
      <p:sp>
        <p:nvSpPr>
          <p:cNvPr id="11" name="Title 11"/>
          <p:cNvSpPr txBox="1">
            <a:spLocks/>
          </p:cNvSpPr>
          <p:nvPr/>
        </p:nvSpPr>
        <p:spPr bwMode="auto">
          <a:xfrm>
            <a:off x="2049076" y="3211923"/>
            <a:ext cx="8134630" cy="627439"/>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914400" rtl="0" eaLnBrk="1" latinLnBrk="0" hangingPunct="1">
              <a:spcBef>
                <a:spcPct val="0"/>
              </a:spcBef>
              <a:buNone/>
              <a:defRPr lang="en-GB" sz="2400" b="0" kern="1200" cap="none" baseline="0" noProof="0" dirty="0" smtClean="0">
                <a:solidFill>
                  <a:schemeClr val="tx1"/>
                </a:solidFill>
                <a:latin typeface="+mj-lt"/>
                <a:ea typeface="+mj-ea"/>
                <a:cs typeface="+mj-cs"/>
              </a:defRPr>
            </a:lvl1pPr>
          </a:lstStyle>
          <a:p>
            <a:endParaRPr lang="en-GB" dirty="0">
              <a:solidFill>
                <a:srgbClr val="595959"/>
              </a:solidFill>
              <a:latin typeface="Futura Bold"/>
            </a:endParaRPr>
          </a:p>
        </p:txBody>
      </p:sp>
      <p:sp>
        <p:nvSpPr>
          <p:cNvPr id="13" name="Content Placeholder 7"/>
          <p:cNvSpPr txBox="1">
            <a:spLocks/>
          </p:cNvSpPr>
          <p:nvPr/>
        </p:nvSpPr>
        <p:spPr bwMode="auto">
          <a:xfrm>
            <a:off x="1775043" y="3856495"/>
            <a:ext cx="8193180" cy="2341689"/>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454025" lvl="3" defTabSz="268288">
              <a:lnSpc>
                <a:spcPct val="120000"/>
              </a:lnSpc>
              <a:spcAft>
                <a:spcPts val="600"/>
              </a:spcAft>
              <a:buClr>
                <a:srgbClr val="595959"/>
              </a:buClr>
              <a:buSzPct val="75000"/>
              <a:defRPr/>
            </a:pPr>
            <a:endParaRPr lang="en-GB" sz="1600" dirty="0">
              <a:solidFill>
                <a:srgbClr val="595959"/>
              </a:solidFill>
              <a:latin typeface="Futura Medium"/>
            </a:endParaRPr>
          </a:p>
        </p:txBody>
      </p:sp>
      <p:sp>
        <p:nvSpPr>
          <p:cNvPr id="2" name="Footer Placeholder 1"/>
          <p:cNvSpPr>
            <a:spLocks noGrp="1"/>
          </p:cNvSpPr>
          <p:nvPr>
            <p:ph type="ftr" sz="quarter" idx="3"/>
          </p:nvPr>
        </p:nvSpPr>
        <p:spPr>
          <a:xfrm>
            <a:off x="4231005" y="5859483"/>
            <a:ext cx="6256255" cy="715128"/>
          </a:xfrm>
        </p:spPr>
        <p:txBody>
          <a:bodyPr/>
          <a:lstStyle/>
          <a:p>
            <a:pPr marL="2286000" lvl="5" defTabSz="914400">
              <a:lnSpc>
                <a:spcPct val="113000"/>
              </a:lnSpc>
              <a:spcAft>
                <a:spcPts val="60"/>
              </a:spcAft>
            </a:pPr>
            <a:endParaRPr lang="en-US" sz="2100" dirty="0">
              <a:solidFill>
                <a:srgbClr val="595959"/>
              </a:solidFill>
              <a:latin typeface="Futura Medium"/>
            </a:endParaRPr>
          </a:p>
          <a:p>
            <a:pPr algn="r" defTabSz="914400">
              <a:defRPr/>
            </a:pPr>
            <a:endParaRPr lang="en-GB" sz="1100" dirty="0">
              <a:solidFill>
                <a:srgbClr val="595959"/>
              </a:solidFill>
              <a:latin typeface="Futura Medium"/>
            </a:endParaRPr>
          </a:p>
        </p:txBody>
      </p:sp>
      <p:pic>
        <p:nvPicPr>
          <p:cNvPr id="14" name="Picture 13">
            <a:extLst>
              <a:ext uri="{FF2B5EF4-FFF2-40B4-BE49-F238E27FC236}">
                <a16:creationId xmlns:a16="http://schemas.microsoft.com/office/drawing/2014/main" id="{2AFA621F-3853-8E3B-F357-04F84649CF83}"/>
              </a:ext>
            </a:extLst>
          </p:cNvPr>
          <p:cNvPicPr>
            <a:picLocks noChangeAspect="1"/>
          </p:cNvPicPr>
          <p:nvPr/>
        </p:nvPicPr>
        <p:blipFill>
          <a:blip r:embed="rId3"/>
          <a:stretch>
            <a:fillRect/>
          </a:stretch>
        </p:blipFill>
        <p:spPr>
          <a:xfrm>
            <a:off x="2049077" y="3429001"/>
            <a:ext cx="3965847" cy="2434787"/>
          </a:xfrm>
          <a:prstGeom prst="rect">
            <a:avLst/>
          </a:prstGeom>
        </p:spPr>
      </p:pic>
      <p:pic>
        <p:nvPicPr>
          <p:cNvPr id="6" name="Picture 5">
            <a:extLst>
              <a:ext uri="{FF2B5EF4-FFF2-40B4-BE49-F238E27FC236}">
                <a16:creationId xmlns:a16="http://schemas.microsoft.com/office/drawing/2014/main" id="{B3A2C396-4236-C243-B4AA-EA44ABDB160C}"/>
              </a:ext>
            </a:extLst>
          </p:cNvPr>
          <p:cNvPicPr>
            <a:picLocks noChangeAspect="1"/>
          </p:cNvPicPr>
          <p:nvPr/>
        </p:nvPicPr>
        <p:blipFill>
          <a:blip r:embed="rId4"/>
          <a:stretch>
            <a:fillRect/>
          </a:stretch>
        </p:blipFill>
        <p:spPr>
          <a:xfrm>
            <a:off x="6043081" y="3436191"/>
            <a:ext cx="4373877" cy="2427596"/>
          </a:xfrm>
          <a:prstGeom prst="rect">
            <a:avLst/>
          </a:prstGeom>
        </p:spPr>
      </p:pic>
      <p:pic>
        <p:nvPicPr>
          <p:cNvPr id="17" name="Picture 16">
            <a:extLst>
              <a:ext uri="{FF2B5EF4-FFF2-40B4-BE49-F238E27FC236}">
                <a16:creationId xmlns:a16="http://schemas.microsoft.com/office/drawing/2014/main" id="{50FCC811-99FC-3C5C-C314-A357755997C2}"/>
              </a:ext>
            </a:extLst>
          </p:cNvPr>
          <p:cNvPicPr>
            <a:picLocks noChangeAspect="1"/>
          </p:cNvPicPr>
          <p:nvPr/>
        </p:nvPicPr>
        <p:blipFill>
          <a:blip r:embed="rId5"/>
          <a:stretch>
            <a:fillRect/>
          </a:stretch>
        </p:blipFill>
        <p:spPr>
          <a:xfrm>
            <a:off x="5491510" y="5877209"/>
            <a:ext cx="4410075" cy="715128"/>
          </a:xfrm>
          <a:prstGeom prst="rect">
            <a:avLst/>
          </a:prstGeom>
        </p:spPr>
      </p:pic>
      <p:pic>
        <p:nvPicPr>
          <p:cNvPr id="8" name="Picture 7">
            <a:extLst>
              <a:ext uri="{FF2B5EF4-FFF2-40B4-BE49-F238E27FC236}">
                <a16:creationId xmlns:a16="http://schemas.microsoft.com/office/drawing/2014/main" id="{52897439-4CCA-20DE-C20D-900934CA29A7}"/>
              </a:ext>
            </a:extLst>
          </p:cNvPr>
          <p:cNvPicPr>
            <a:picLocks noChangeAspect="1"/>
          </p:cNvPicPr>
          <p:nvPr/>
        </p:nvPicPr>
        <p:blipFill>
          <a:blip r:embed="rId6"/>
          <a:stretch>
            <a:fillRect/>
          </a:stretch>
        </p:blipFill>
        <p:spPr>
          <a:xfrm>
            <a:off x="7477991" y="1084972"/>
            <a:ext cx="2921199" cy="2312186"/>
          </a:xfrm>
          <a:prstGeom prst="rect">
            <a:avLst/>
          </a:prstGeom>
        </p:spPr>
      </p:pic>
      <p:pic>
        <p:nvPicPr>
          <p:cNvPr id="15" name="Picture 14">
            <a:extLst>
              <a:ext uri="{FF2B5EF4-FFF2-40B4-BE49-F238E27FC236}">
                <a16:creationId xmlns:a16="http://schemas.microsoft.com/office/drawing/2014/main" id="{45E9F091-21EA-172B-730F-94009CF541D6}"/>
              </a:ext>
            </a:extLst>
          </p:cNvPr>
          <p:cNvPicPr>
            <a:picLocks noChangeAspect="1"/>
          </p:cNvPicPr>
          <p:nvPr/>
        </p:nvPicPr>
        <p:blipFill>
          <a:blip r:embed="rId7"/>
          <a:stretch>
            <a:fillRect/>
          </a:stretch>
        </p:blipFill>
        <p:spPr>
          <a:xfrm>
            <a:off x="2049076" y="1083138"/>
            <a:ext cx="2500363" cy="2312186"/>
          </a:xfrm>
          <a:prstGeom prst="rect">
            <a:avLst/>
          </a:prstGeom>
        </p:spPr>
      </p:pic>
      <p:pic>
        <p:nvPicPr>
          <p:cNvPr id="3" name="Picture 2">
            <a:extLst>
              <a:ext uri="{FF2B5EF4-FFF2-40B4-BE49-F238E27FC236}">
                <a16:creationId xmlns:a16="http://schemas.microsoft.com/office/drawing/2014/main" id="{E78F1CB2-5C64-B5D3-E133-9064075DDB2C}"/>
              </a:ext>
            </a:extLst>
          </p:cNvPr>
          <p:cNvPicPr>
            <a:picLocks noChangeAspect="1"/>
          </p:cNvPicPr>
          <p:nvPr/>
        </p:nvPicPr>
        <p:blipFill>
          <a:blip r:embed="rId8"/>
          <a:stretch>
            <a:fillRect/>
          </a:stretch>
        </p:blipFill>
        <p:spPr>
          <a:xfrm>
            <a:off x="4577596" y="1083138"/>
            <a:ext cx="2882627" cy="2335328"/>
          </a:xfrm>
          <a:prstGeom prst="rect">
            <a:avLst/>
          </a:prstGeom>
        </p:spPr>
      </p:pic>
    </p:spTree>
    <p:extLst>
      <p:ext uri="{BB962C8B-B14F-4D97-AF65-F5344CB8AC3E}">
        <p14:creationId xmlns:p14="http://schemas.microsoft.com/office/powerpoint/2010/main" val="425844411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a:xfrm>
            <a:off x="9901585" y="6478119"/>
            <a:ext cx="266673" cy="237744"/>
          </a:xfrm>
        </p:spPr>
        <p:txBody>
          <a:bodyPr/>
          <a:lstStyle/>
          <a:p>
            <a:pPr defTabSz="914400"/>
            <a:fld id="{D32BAE6A-B452-4007-8177-56DD051636F9}" type="slidenum">
              <a:rPr lang="en-GB">
                <a:solidFill>
                  <a:srgbClr val="595959"/>
                </a:solidFill>
                <a:latin typeface="Futura Medium"/>
              </a:rPr>
              <a:pPr defTabSz="914400"/>
              <a:t>11</a:t>
            </a:fld>
            <a:endParaRPr lang="en-GB" dirty="0">
              <a:solidFill>
                <a:srgbClr val="595959"/>
              </a:solidFill>
              <a:latin typeface="Futura Medium"/>
            </a:endParaRPr>
          </a:p>
        </p:txBody>
      </p:sp>
      <p:sp>
        <p:nvSpPr>
          <p:cNvPr id="5" name="Date Placeholder 4"/>
          <p:cNvSpPr>
            <a:spLocks noGrp="1"/>
          </p:cNvSpPr>
          <p:nvPr>
            <p:ph type="dt" sz="half" idx="2"/>
          </p:nvPr>
        </p:nvSpPr>
        <p:spPr>
          <a:xfrm>
            <a:off x="8920681" y="6525005"/>
            <a:ext cx="832919" cy="237744"/>
          </a:xfrm>
        </p:spPr>
        <p:txBody>
          <a:bodyPr/>
          <a:lstStyle/>
          <a:p>
            <a:pPr defTabSz="914400"/>
            <a:r>
              <a:rPr lang="en-US" sz="900" dirty="0">
                <a:solidFill>
                  <a:srgbClr val="595959"/>
                </a:solidFill>
                <a:latin typeface="Futura Medium"/>
              </a:rPr>
              <a:t>JANUARY 2024</a:t>
            </a:r>
            <a:endParaRPr lang="en-GB" sz="900" dirty="0">
              <a:solidFill>
                <a:srgbClr val="595959"/>
              </a:solidFill>
              <a:latin typeface="Futura Medium"/>
            </a:endParaRPr>
          </a:p>
        </p:txBody>
      </p:sp>
      <p:sp>
        <p:nvSpPr>
          <p:cNvPr id="3" name="Title 2"/>
          <p:cNvSpPr>
            <a:spLocks noGrp="1"/>
          </p:cNvSpPr>
          <p:nvPr>
            <p:ph type="title"/>
          </p:nvPr>
        </p:nvSpPr>
        <p:spPr>
          <a:xfrm>
            <a:off x="2033627" y="700519"/>
            <a:ext cx="8134630" cy="755650"/>
          </a:xfrm>
        </p:spPr>
        <p:txBody>
          <a:bodyPr/>
          <a:lstStyle/>
          <a:p>
            <a:r>
              <a:rPr lang="en-GB" dirty="0"/>
              <a:t>DEMURRAGE OVERVIEW - BONNY</a:t>
            </a:r>
          </a:p>
        </p:txBody>
      </p:sp>
      <p:sp>
        <p:nvSpPr>
          <p:cNvPr id="12" name="Footer Placeholder 11"/>
          <p:cNvSpPr txBox="1">
            <a:spLocks noGrp="1"/>
          </p:cNvSpPr>
          <p:nvPr>
            <p:ph type="ftr" sz="quarter" idx="3"/>
          </p:nvPr>
        </p:nvSpPr>
        <p:spPr>
          <a:xfrm>
            <a:off x="5355651" y="5473819"/>
            <a:ext cx="4447377" cy="1288930"/>
          </a:xfrm>
          <a:prstGeom prst="rect">
            <a:avLst/>
          </a:prstGeom>
          <a:noFill/>
        </p:spPr>
        <p:txBody>
          <a:bodyPr vert="horz" wrap="square" lIns="0" tIns="0" rIns="0" bIns="0" numCol="1" rtlCol="0" anchor="t" anchorCtr="0" compatLnSpc="1">
            <a:prstTxWarp prst="textNoShape">
              <a:avLst/>
            </a:prstTxWarp>
            <a:noAutofit/>
          </a:bodyPr>
          <a:lstStyle/>
          <a:p>
            <a:pPr defTabSz="914400">
              <a:lnSpc>
                <a:spcPct val="113000"/>
              </a:lnSpc>
              <a:spcAft>
                <a:spcPts val="60"/>
              </a:spcAft>
            </a:pPr>
            <a:endParaRPr lang="en-US" sz="1100" dirty="0">
              <a:solidFill>
                <a:srgbClr val="595959"/>
              </a:solidFill>
              <a:latin typeface="Futura Medium"/>
            </a:endParaRPr>
          </a:p>
          <a:p>
            <a:pPr marL="177800" indent="-177800" defTabSz="914400">
              <a:lnSpc>
                <a:spcPct val="113000"/>
              </a:lnSpc>
              <a:spcAft>
                <a:spcPts val="60"/>
              </a:spcAft>
              <a:buFont typeface="Wingdings"/>
              <a:buChar char="n"/>
            </a:pPr>
            <a:endParaRPr lang="en-US" sz="1100" dirty="0">
              <a:solidFill>
                <a:srgbClr val="595959"/>
              </a:solidFill>
              <a:latin typeface="Futura Medium"/>
            </a:endParaRPr>
          </a:p>
          <a:p>
            <a:pPr algn="l" defTabSz="914400">
              <a:lnSpc>
                <a:spcPct val="113000"/>
              </a:lnSpc>
              <a:spcAft>
                <a:spcPts val="60"/>
              </a:spcAft>
            </a:pPr>
            <a:endParaRPr lang="en-US" sz="1050" dirty="0">
              <a:solidFill>
                <a:srgbClr val="595959"/>
              </a:solidFill>
              <a:latin typeface="Futura Medium"/>
            </a:endParaRPr>
          </a:p>
          <a:p>
            <a:pPr algn="l" defTabSz="914400">
              <a:lnSpc>
                <a:spcPct val="113000"/>
              </a:lnSpc>
              <a:spcAft>
                <a:spcPts val="60"/>
              </a:spcAft>
            </a:pPr>
            <a:endParaRPr lang="en-US" sz="1050" dirty="0">
              <a:solidFill>
                <a:srgbClr val="595959"/>
              </a:solidFill>
              <a:latin typeface="Futura Medium"/>
            </a:endParaRPr>
          </a:p>
          <a:p>
            <a:pPr defTabSz="914400">
              <a:lnSpc>
                <a:spcPct val="113000"/>
              </a:lnSpc>
              <a:spcAft>
                <a:spcPts val="60"/>
              </a:spcAft>
            </a:pPr>
            <a:endParaRPr lang="en-US" sz="1100" dirty="0">
              <a:solidFill>
                <a:srgbClr val="595959"/>
              </a:solidFill>
              <a:latin typeface="Futura Medium"/>
            </a:endParaRPr>
          </a:p>
        </p:txBody>
      </p:sp>
      <p:pic>
        <p:nvPicPr>
          <p:cNvPr id="9" name="Picture 8">
            <a:extLst>
              <a:ext uri="{FF2B5EF4-FFF2-40B4-BE49-F238E27FC236}">
                <a16:creationId xmlns:a16="http://schemas.microsoft.com/office/drawing/2014/main" id="{5A765009-91EE-9C3A-75A3-E2ADBC34193F}"/>
              </a:ext>
            </a:extLst>
          </p:cNvPr>
          <p:cNvPicPr>
            <a:picLocks noChangeAspect="1"/>
          </p:cNvPicPr>
          <p:nvPr/>
        </p:nvPicPr>
        <p:blipFill>
          <a:blip r:embed="rId3"/>
          <a:stretch>
            <a:fillRect/>
          </a:stretch>
        </p:blipFill>
        <p:spPr>
          <a:xfrm>
            <a:off x="1608532" y="3276932"/>
            <a:ext cx="4234154" cy="2428609"/>
          </a:xfrm>
          <a:prstGeom prst="rect">
            <a:avLst/>
          </a:prstGeom>
        </p:spPr>
      </p:pic>
      <p:pic>
        <p:nvPicPr>
          <p:cNvPr id="6" name="Picture 5">
            <a:extLst>
              <a:ext uri="{FF2B5EF4-FFF2-40B4-BE49-F238E27FC236}">
                <a16:creationId xmlns:a16="http://schemas.microsoft.com/office/drawing/2014/main" id="{BDE45599-1BB1-BFD2-5E0B-497D37A89AAA}"/>
              </a:ext>
            </a:extLst>
          </p:cNvPr>
          <p:cNvPicPr>
            <a:picLocks noChangeAspect="1"/>
          </p:cNvPicPr>
          <p:nvPr/>
        </p:nvPicPr>
        <p:blipFill>
          <a:blip r:embed="rId4"/>
          <a:stretch>
            <a:fillRect/>
          </a:stretch>
        </p:blipFill>
        <p:spPr>
          <a:xfrm>
            <a:off x="4440195" y="1141423"/>
            <a:ext cx="2823520" cy="2083555"/>
          </a:xfrm>
          <a:prstGeom prst="rect">
            <a:avLst/>
          </a:prstGeom>
        </p:spPr>
      </p:pic>
      <p:pic>
        <p:nvPicPr>
          <p:cNvPr id="13" name="Picture 12">
            <a:extLst>
              <a:ext uri="{FF2B5EF4-FFF2-40B4-BE49-F238E27FC236}">
                <a16:creationId xmlns:a16="http://schemas.microsoft.com/office/drawing/2014/main" id="{488D9707-8C9C-1AE9-1B23-0BF6E1AA3381}"/>
              </a:ext>
            </a:extLst>
          </p:cNvPr>
          <p:cNvPicPr>
            <a:picLocks noChangeAspect="1"/>
          </p:cNvPicPr>
          <p:nvPr/>
        </p:nvPicPr>
        <p:blipFill>
          <a:blip r:embed="rId5"/>
          <a:stretch>
            <a:fillRect/>
          </a:stretch>
        </p:blipFill>
        <p:spPr>
          <a:xfrm>
            <a:off x="7313142" y="1128096"/>
            <a:ext cx="3280211" cy="2130689"/>
          </a:xfrm>
          <a:prstGeom prst="rect">
            <a:avLst/>
          </a:prstGeom>
        </p:spPr>
      </p:pic>
      <p:pic>
        <p:nvPicPr>
          <p:cNvPr id="14" name="Picture 13">
            <a:extLst>
              <a:ext uri="{FF2B5EF4-FFF2-40B4-BE49-F238E27FC236}">
                <a16:creationId xmlns:a16="http://schemas.microsoft.com/office/drawing/2014/main" id="{1EAC8DFB-CE11-D00B-350E-65A188776F7C}"/>
              </a:ext>
            </a:extLst>
          </p:cNvPr>
          <p:cNvPicPr>
            <a:picLocks noChangeAspect="1"/>
          </p:cNvPicPr>
          <p:nvPr/>
        </p:nvPicPr>
        <p:blipFill>
          <a:blip r:embed="rId6"/>
          <a:stretch>
            <a:fillRect/>
          </a:stretch>
        </p:blipFill>
        <p:spPr>
          <a:xfrm>
            <a:off x="1608532" y="1141423"/>
            <a:ext cx="2823520" cy="2083555"/>
          </a:xfrm>
          <a:prstGeom prst="rect">
            <a:avLst/>
          </a:prstGeom>
        </p:spPr>
      </p:pic>
      <p:pic>
        <p:nvPicPr>
          <p:cNvPr id="16" name="Picture 15">
            <a:extLst>
              <a:ext uri="{FF2B5EF4-FFF2-40B4-BE49-F238E27FC236}">
                <a16:creationId xmlns:a16="http://schemas.microsoft.com/office/drawing/2014/main" id="{4B4959DC-2624-6B7A-3359-FF91459939E4}"/>
              </a:ext>
            </a:extLst>
          </p:cNvPr>
          <p:cNvPicPr>
            <a:picLocks noChangeAspect="1"/>
          </p:cNvPicPr>
          <p:nvPr/>
        </p:nvPicPr>
        <p:blipFill>
          <a:blip r:embed="rId7"/>
          <a:stretch>
            <a:fillRect/>
          </a:stretch>
        </p:blipFill>
        <p:spPr>
          <a:xfrm>
            <a:off x="5892115" y="3276931"/>
            <a:ext cx="4691353" cy="2415844"/>
          </a:xfrm>
          <a:prstGeom prst="rect">
            <a:avLst/>
          </a:prstGeom>
        </p:spPr>
      </p:pic>
      <p:pic>
        <p:nvPicPr>
          <p:cNvPr id="19" name="Picture 18">
            <a:extLst>
              <a:ext uri="{FF2B5EF4-FFF2-40B4-BE49-F238E27FC236}">
                <a16:creationId xmlns:a16="http://schemas.microsoft.com/office/drawing/2014/main" id="{8B298A1C-95D3-D39E-9B79-C05E6E89C767}"/>
              </a:ext>
            </a:extLst>
          </p:cNvPr>
          <p:cNvPicPr>
            <a:picLocks noChangeAspect="1"/>
          </p:cNvPicPr>
          <p:nvPr/>
        </p:nvPicPr>
        <p:blipFill>
          <a:blip r:embed="rId8"/>
          <a:stretch>
            <a:fillRect/>
          </a:stretch>
        </p:blipFill>
        <p:spPr>
          <a:xfrm>
            <a:off x="4496444" y="5716578"/>
            <a:ext cx="4793779" cy="781050"/>
          </a:xfrm>
          <a:prstGeom prst="rect">
            <a:avLst/>
          </a:prstGeom>
        </p:spPr>
      </p:pic>
    </p:spTree>
    <p:extLst>
      <p:ext uri="{BB962C8B-B14F-4D97-AF65-F5344CB8AC3E}">
        <p14:creationId xmlns:p14="http://schemas.microsoft.com/office/powerpoint/2010/main" val="276302310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p:cNvSpPr>
            <a:spLocks noGrp="1"/>
          </p:cNvSpPr>
          <p:nvPr>
            <p:ph type="dt" sz="half" idx="2"/>
          </p:nvPr>
        </p:nvSpPr>
        <p:spPr>
          <a:xfrm>
            <a:off x="9741618" y="6739128"/>
            <a:ext cx="1080000" cy="237744"/>
          </a:xfrm>
        </p:spPr>
        <p:txBody>
          <a:bodyPr/>
          <a:lstStyle/>
          <a:p>
            <a:pPr defTabSz="914400"/>
            <a:r>
              <a:rPr lang="en-US" dirty="0">
                <a:solidFill>
                  <a:srgbClr val="595959"/>
                </a:solidFill>
                <a:latin typeface="Futura Medium"/>
              </a:rPr>
              <a:t>JANUARY 2024</a:t>
            </a:r>
            <a:endParaRPr lang="en-GB" dirty="0">
              <a:solidFill>
                <a:srgbClr val="595959"/>
              </a:solidFill>
              <a:latin typeface="Futura Medium"/>
            </a:endParaRPr>
          </a:p>
        </p:txBody>
      </p:sp>
      <p:sp>
        <p:nvSpPr>
          <p:cNvPr id="3" name="Title 2"/>
          <p:cNvSpPr>
            <a:spLocks noGrp="1"/>
          </p:cNvSpPr>
          <p:nvPr>
            <p:ph type="title"/>
          </p:nvPr>
        </p:nvSpPr>
        <p:spPr/>
        <p:txBody>
          <a:bodyPr/>
          <a:lstStyle/>
          <a:p>
            <a:r>
              <a:rPr lang="en-GB" dirty="0"/>
              <a:t>DEMURRAGE OVERVIEW - FORCADOS</a:t>
            </a:r>
          </a:p>
        </p:txBody>
      </p:sp>
      <p:pic>
        <p:nvPicPr>
          <p:cNvPr id="13" name="Picture 12">
            <a:extLst>
              <a:ext uri="{FF2B5EF4-FFF2-40B4-BE49-F238E27FC236}">
                <a16:creationId xmlns:a16="http://schemas.microsoft.com/office/drawing/2014/main" id="{61A8809B-81DC-045E-C487-B2D2B17B110F}"/>
              </a:ext>
            </a:extLst>
          </p:cNvPr>
          <p:cNvPicPr>
            <a:picLocks noChangeAspect="1"/>
          </p:cNvPicPr>
          <p:nvPr/>
        </p:nvPicPr>
        <p:blipFill rotWithShape="1">
          <a:blip r:embed="rId3"/>
          <a:srcRect t="14796"/>
          <a:stretch/>
        </p:blipFill>
        <p:spPr>
          <a:xfrm>
            <a:off x="6095861" y="3894667"/>
            <a:ext cx="4450001" cy="1882948"/>
          </a:xfrm>
          <a:prstGeom prst="rect">
            <a:avLst/>
          </a:prstGeom>
        </p:spPr>
      </p:pic>
      <p:pic>
        <p:nvPicPr>
          <p:cNvPr id="6" name="Picture 5">
            <a:extLst>
              <a:ext uri="{FF2B5EF4-FFF2-40B4-BE49-F238E27FC236}">
                <a16:creationId xmlns:a16="http://schemas.microsoft.com/office/drawing/2014/main" id="{B48155FC-F566-ADBF-2E2C-3D519810D096}"/>
              </a:ext>
            </a:extLst>
          </p:cNvPr>
          <p:cNvPicPr>
            <a:picLocks noChangeAspect="1"/>
          </p:cNvPicPr>
          <p:nvPr/>
        </p:nvPicPr>
        <p:blipFill>
          <a:blip r:embed="rId4"/>
          <a:stretch>
            <a:fillRect/>
          </a:stretch>
        </p:blipFill>
        <p:spPr>
          <a:xfrm>
            <a:off x="7578811" y="1163067"/>
            <a:ext cx="3016990" cy="2382344"/>
          </a:xfrm>
          <a:prstGeom prst="rect">
            <a:avLst/>
          </a:prstGeom>
        </p:spPr>
      </p:pic>
      <p:pic>
        <p:nvPicPr>
          <p:cNvPr id="8" name="Picture 7">
            <a:extLst>
              <a:ext uri="{FF2B5EF4-FFF2-40B4-BE49-F238E27FC236}">
                <a16:creationId xmlns:a16="http://schemas.microsoft.com/office/drawing/2014/main" id="{88150BD8-EC40-4B22-7E9B-9B0E339F188F}"/>
              </a:ext>
            </a:extLst>
          </p:cNvPr>
          <p:cNvPicPr>
            <a:picLocks noChangeAspect="1"/>
          </p:cNvPicPr>
          <p:nvPr/>
        </p:nvPicPr>
        <p:blipFill>
          <a:blip r:embed="rId5"/>
          <a:stretch>
            <a:fillRect/>
          </a:stretch>
        </p:blipFill>
        <p:spPr>
          <a:xfrm>
            <a:off x="1568528" y="3627280"/>
            <a:ext cx="4477393" cy="2150334"/>
          </a:xfrm>
          <a:prstGeom prst="rect">
            <a:avLst/>
          </a:prstGeom>
        </p:spPr>
      </p:pic>
      <p:pic>
        <p:nvPicPr>
          <p:cNvPr id="2" name="Picture 1">
            <a:extLst>
              <a:ext uri="{FF2B5EF4-FFF2-40B4-BE49-F238E27FC236}">
                <a16:creationId xmlns:a16="http://schemas.microsoft.com/office/drawing/2014/main" id="{5538C777-3E14-DE9E-1571-4DC2C66A1429}"/>
              </a:ext>
            </a:extLst>
          </p:cNvPr>
          <p:cNvPicPr>
            <a:picLocks noChangeAspect="1"/>
          </p:cNvPicPr>
          <p:nvPr/>
        </p:nvPicPr>
        <p:blipFill>
          <a:blip r:embed="rId6"/>
          <a:stretch>
            <a:fillRect/>
          </a:stretch>
        </p:blipFill>
        <p:spPr>
          <a:xfrm>
            <a:off x="1595920" y="1148185"/>
            <a:ext cx="3251529" cy="2397227"/>
          </a:xfrm>
          <a:prstGeom prst="rect">
            <a:avLst/>
          </a:prstGeom>
        </p:spPr>
      </p:pic>
      <p:pic>
        <p:nvPicPr>
          <p:cNvPr id="11" name="Picture 10">
            <a:extLst>
              <a:ext uri="{FF2B5EF4-FFF2-40B4-BE49-F238E27FC236}">
                <a16:creationId xmlns:a16="http://schemas.microsoft.com/office/drawing/2014/main" id="{16B0D00E-AAA2-1235-3D5F-1616F277A7EA}"/>
              </a:ext>
            </a:extLst>
          </p:cNvPr>
          <p:cNvPicPr>
            <a:picLocks noChangeAspect="1"/>
          </p:cNvPicPr>
          <p:nvPr/>
        </p:nvPicPr>
        <p:blipFill>
          <a:blip r:embed="rId7"/>
          <a:stretch>
            <a:fillRect/>
          </a:stretch>
        </p:blipFill>
        <p:spPr>
          <a:xfrm>
            <a:off x="4897395" y="1148185"/>
            <a:ext cx="2615616" cy="2397227"/>
          </a:xfrm>
          <a:prstGeom prst="rect">
            <a:avLst/>
          </a:prstGeom>
        </p:spPr>
      </p:pic>
      <p:pic>
        <p:nvPicPr>
          <p:cNvPr id="14" name="Picture 13">
            <a:extLst>
              <a:ext uri="{FF2B5EF4-FFF2-40B4-BE49-F238E27FC236}">
                <a16:creationId xmlns:a16="http://schemas.microsoft.com/office/drawing/2014/main" id="{7F583DF0-323C-85D1-DBCD-C8E90774C400}"/>
              </a:ext>
            </a:extLst>
          </p:cNvPr>
          <p:cNvPicPr>
            <a:picLocks noChangeAspect="1"/>
          </p:cNvPicPr>
          <p:nvPr/>
        </p:nvPicPr>
        <p:blipFill>
          <a:blip r:embed="rId8"/>
          <a:stretch>
            <a:fillRect/>
          </a:stretch>
        </p:blipFill>
        <p:spPr>
          <a:xfrm>
            <a:off x="4440324" y="5799888"/>
            <a:ext cx="6276975" cy="971550"/>
          </a:xfrm>
          <a:prstGeom prst="rect">
            <a:avLst/>
          </a:prstGeom>
        </p:spPr>
      </p:pic>
      <p:sp>
        <p:nvSpPr>
          <p:cNvPr id="4" name="Rectangle 3">
            <a:extLst>
              <a:ext uri="{FF2B5EF4-FFF2-40B4-BE49-F238E27FC236}">
                <a16:creationId xmlns:a16="http://schemas.microsoft.com/office/drawing/2014/main" id="{B452DB0A-D36F-3EEA-5981-52B5D81E2634}"/>
              </a:ext>
            </a:extLst>
          </p:cNvPr>
          <p:cNvSpPr/>
          <p:nvPr/>
        </p:nvSpPr>
        <p:spPr>
          <a:xfrm>
            <a:off x="6095861" y="3627280"/>
            <a:ext cx="4450001" cy="245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lumMod val="75000"/>
                  </a:schemeClr>
                </a:solidFill>
              </a:rPr>
              <a:t>Demurrage cause by frequency</a:t>
            </a:r>
          </a:p>
        </p:txBody>
      </p:sp>
    </p:spTree>
    <p:extLst>
      <p:ext uri="{BB962C8B-B14F-4D97-AF65-F5344CB8AC3E}">
        <p14:creationId xmlns:p14="http://schemas.microsoft.com/office/powerpoint/2010/main" val="419760488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1486" y="668529"/>
            <a:ext cx="8134630" cy="461665"/>
          </a:xfrm>
        </p:spPr>
        <p:txBody>
          <a:bodyPr/>
          <a:lstStyle/>
          <a:p>
            <a:r>
              <a:rPr lang="en-US" dirty="0"/>
              <a:t>DEMURRAGE OVERVIEW – SEA EAGLE</a:t>
            </a:r>
          </a:p>
        </p:txBody>
      </p:sp>
      <p:sp>
        <p:nvSpPr>
          <p:cNvPr id="4" name="Slide Number Placeholder 3"/>
          <p:cNvSpPr>
            <a:spLocks noGrp="1"/>
          </p:cNvSpPr>
          <p:nvPr>
            <p:ph type="sldNum" sz="quarter" idx="4"/>
          </p:nvPr>
        </p:nvSpPr>
        <p:spPr/>
        <p:txBody>
          <a:bodyPr/>
          <a:lstStyle/>
          <a:p>
            <a:pPr defTabSz="914400"/>
            <a:fld id="{D32BAE6A-B452-4007-8177-56DD051636F9}" type="slidenum">
              <a:rPr lang="en-GB">
                <a:solidFill>
                  <a:srgbClr val="595959"/>
                </a:solidFill>
                <a:latin typeface="Futura Medium"/>
              </a:rPr>
              <a:pPr defTabSz="914400"/>
              <a:t>13</a:t>
            </a:fld>
            <a:endParaRPr lang="en-GB" dirty="0">
              <a:solidFill>
                <a:srgbClr val="595959"/>
              </a:solidFill>
              <a:latin typeface="Futura Medium"/>
            </a:endParaRPr>
          </a:p>
        </p:txBody>
      </p:sp>
      <p:sp>
        <p:nvSpPr>
          <p:cNvPr id="5" name="Date Placeholder 4"/>
          <p:cNvSpPr>
            <a:spLocks noGrp="1"/>
          </p:cNvSpPr>
          <p:nvPr>
            <p:ph type="dt" sz="half" idx="2"/>
          </p:nvPr>
        </p:nvSpPr>
        <p:spPr>
          <a:xfrm>
            <a:off x="8763594" y="6596992"/>
            <a:ext cx="1080000" cy="379881"/>
          </a:xfrm>
        </p:spPr>
        <p:txBody>
          <a:bodyPr/>
          <a:lstStyle/>
          <a:p>
            <a:pPr defTabSz="914400"/>
            <a:r>
              <a:rPr lang="en-US" sz="900" dirty="0">
                <a:solidFill>
                  <a:srgbClr val="595959"/>
                </a:solidFill>
                <a:latin typeface="Futura Medium"/>
              </a:rPr>
              <a:t>JANUARY 2024</a:t>
            </a:r>
            <a:endParaRPr lang="en-GB" sz="900" dirty="0">
              <a:solidFill>
                <a:srgbClr val="595959"/>
              </a:solidFill>
              <a:latin typeface="Futura Medium"/>
            </a:endParaRPr>
          </a:p>
        </p:txBody>
      </p:sp>
      <p:pic>
        <p:nvPicPr>
          <p:cNvPr id="14" name="Picture 13">
            <a:extLst>
              <a:ext uri="{FF2B5EF4-FFF2-40B4-BE49-F238E27FC236}">
                <a16:creationId xmlns:a16="http://schemas.microsoft.com/office/drawing/2014/main" id="{BFA73E45-ABA8-D657-FDD5-63C567893166}"/>
              </a:ext>
            </a:extLst>
          </p:cNvPr>
          <p:cNvPicPr>
            <a:picLocks noChangeAspect="1"/>
          </p:cNvPicPr>
          <p:nvPr/>
        </p:nvPicPr>
        <p:blipFill>
          <a:blip r:embed="rId3"/>
          <a:stretch>
            <a:fillRect/>
          </a:stretch>
        </p:blipFill>
        <p:spPr>
          <a:xfrm>
            <a:off x="1853852" y="3662792"/>
            <a:ext cx="4425180" cy="2348389"/>
          </a:xfrm>
          <a:prstGeom prst="rect">
            <a:avLst/>
          </a:prstGeom>
        </p:spPr>
      </p:pic>
      <p:pic>
        <p:nvPicPr>
          <p:cNvPr id="15" name="Picture 14">
            <a:extLst>
              <a:ext uri="{FF2B5EF4-FFF2-40B4-BE49-F238E27FC236}">
                <a16:creationId xmlns:a16="http://schemas.microsoft.com/office/drawing/2014/main" id="{086F4E70-BC1E-3E62-D955-71492F95CFA8}"/>
              </a:ext>
            </a:extLst>
          </p:cNvPr>
          <p:cNvPicPr>
            <a:picLocks noChangeAspect="1"/>
          </p:cNvPicPr>
          <p:nvPr/>
        </p:nvPicPr>
        <p:blipFill>
          <a:blip r:embed="rId4"/>
          <a:stretch>
            <a:fillRect/>
          </a:stretch>
        </p:blipFill>
        <p:spPr>
          <a:xfrm>
            <a:off x="6333111" y="3662792"/>
            <a:ext cx="4238210" cy="2348389"/>
          </a:xfrm>
          <a:prstGeom prst="rect">
            <a:avLst/>
          </a:prstGeom>
        </p:spPr>
      </p:pic>
      <p:pic>
        <p:nvPicPr>
          <p:cNvPr id="10" name="Content Placeholder 9">
            <a:extLst>
              <a:ext uri="{FF2B5EF4-FFF2-40B4-BE49-F238E27FC236}">
                <a16:creationId xmlns:a16="http://schemas.microsoft.com/office/drawing/2014/main" id="{1C572445-BC06-4BBB-9B33-76CA90A9C859}"/>
              </a:ext>
            </a:extLst>
          </p:cNvPr>
          <p:cNvPicPr>
            <a:picLocks noGrp="1" noChangeAspect="1"/>
          </p:cNvPicPr>
          <p:nvPr>
            <p:ph sz="quarter" idx="11"/>
          </p:nvPr>
        </p:nvPicPr>
        <p:blipFill>
          <a:blip r:embed="rId5"/>
          <a:stretch>
            <a:fillRect/>
          </a:stretch>
        </p:blipFill>
        <p:spPr>
          <a:xfrm>
            <a:off x="7411995" y="1132385"/>
            <a:ext cx="3208753" cy="2343829"/>
          </a:xfrm>
          <a:prstGeom prst="rect">
            <a:avLst/>
          </a:prstGeom>
        </p:spPr>
      </p:pic>
      <p:pic>
        <p:nvPicPr>
          <p:cNvPr id="6" name="Picture 5">
            <a:extLst>
              <a:ext uri="{FF2B5EF4-FFF2-40B4-BE49-F238E27FC236}">
                <a16:creationId xmlns:a16="http://schemas.microsoft.com/office/drawing/2014/main" id="{88060C3B-99B0-F1E8-BE80-38CDF60F30C3}"/>
              </a:ext>
            </a:extLst>
          </p:cNvPr>
          <p:cNvPicPr>
            <a:picLocks noChangeAspect="1"/>
          </p:cNvPicPr>
          <p:nvPr/>
        </p:nvPicPr>
        <p:blipFill>
          <a:blip r:embed="rId6"/>
          <a:stretch>
            <a:fillRect/>
          </a:stretch>
        </p:blipFill>
        <p:spPr>
          <a:xfrm>
            <a:off x="4594655" y="6008811"/>
            <a:ext cx="4497216" cy="590550"/>
          </a:xfrm>
          <a:prstGeom prst="rect">
            <a:avLst/>
          </a:prstGeom>
        </p:spPr>
      </p:pic>
      <p:pic>
        <p:nvPicPr>
          <p:cNvPr id="3" name="Picture 2">
            <a:extLst>
              <a:ext uri="{FF2B5EF4-FFF2-40B4-BE49-F238E27FC236}">
                <a16:creationId xmlns:a16="http://schemas.microsoft.com/office/drawing/2014/main" id="{3AFD5C13-7B7C-0083-0A20-114420365B70}"/>
              </a:ext>
            </a:extLst>
          </p:cNvPr>
          <p:cNvPicPr>
            <a:picLocks noChangeAspect="1"/>
          </p:cNvPicPr>
          <p:nvPr/>
        </p:nvPicPr>
        <p:blipFill>
          <a:blip r:embed="rId7"/>
          <a:stretch>
            <a:fillRect/>
          </a:stretch>
        </p:blipFill>
        <p:spPr>
          <a:xfrm>
            <a:off x="1620680" y="1130194"/>
            <a:ext cx="2875121" cy="2438213"/>
          </a:xfrm>
          <a:prstGeom prst="rect">
            <a:avLst/>
          </a:prstGeom>
        </p:spPr>
      </p:pic>
      <p:pic>
        <p:nvPicPr>
          <p:cNvPr id="7" name="Picture 6">
            <a:extLst>
              <a:ext uri="{FF2B5EF4-FFF2-40B4-BE49-F238E27FC236}">
                <a16:creationId xmlns:a16="http://schemas.microsoft.com/office/drawing/2014/main" id="{D48C349E-6196-2CC1-C42D-9B66CF556667}"/>
              </a:ext>
            </a:extLst>
          </p:cNvPr>
          <p:cNvPicPr>
            <a:picLocks noChangeAspect="1"/>
          </p:cNvPicPr>
          <p:nvPr/>
        </p:nvPicPr>
        <p:blipFill>
          <a:blip r:embed="rId8"/>
          <a:stretch>
            <a:fillRect/>
          </a:stretch>
        </p:blipFill>
        <p:spPr>
          <a:xfrm>
            <a:off x="4549880" y="1130193"/>
            <a:ext cx="2812689" cy="2440910"/>
          </a:xfrm>
          <a:prstGeom prst="rect">
            <a:avLst/>
          </a:prstGeom>
        </p:spPr>
      </p:pic>
    </p:spTree>
    <p:extLst>
      <p:ext uri="{BB962C8B-B14F-4D97-AF65-F5344CB8AC3E}">
        <p14:creationId xmlns:p14="http://schemas.microsoft.com/office/powerpoint/2010/main" val="364226500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8545" y="728663"/>
            <a:ext cx="8134630" cy="906849"/>
          </a:xfrm>
        </p:spPr>
        <p:txBody>
          <a:bodyPr/>
          <a:lstStyle/>
          <a:p>
            <a:pPr defTabSz="268288">
              <a:lnSpc>
                <a:spcPct val="120000"/>
              </a:lnSpc>
              <a:spcBef>
                <a:spcPts val="0"/>
              </a:spcBef>
              <a:spcAft>
                <a:spcPts val="600"/>
              </a:spcAft>
            </a:pPr>
            <a:r>
              <a:rPr lang="en-GB" sz="6000" dirty="0">
                <a:solidFill>
                  <a:srgbClr val="D42E12"/>
                </a:solidFill>
                <a:latin typeface="Futura Light" pitchFamily="2" charset="0"/>
                <a:ea typeface="+mn-ea"/>
                <a:cs typeface="+mn-cs"/>
              </a:rPr>
              <a:t>2.0</a:t>
            </a:r>
            <a:br>
              <a:rPr lang="en-GB" sz="6000" dirty="0">
                <a:solidFill>
                  <a:srgbClr val="D42E12"/>
                </a:solidFill>
                <a:latin typeface="Futura Light" pitchFamily="2" charset="0"/>
                <a:ea typeface="+mn-ea"/>
                <a:cs typeface="+mn-cs"/>
              </a:rPr>
            </a:br>
            <a:endParaRPr lang="en-US" dirty="0"/>
          </a:p>
        </p:txBody>
      </p:sp>
      <p:sp>
        <p:nvSpPr>
          <p:cNvPr id="3" name="Content Placeholder 2"/>
          <p:cNvSpPr>
            <a:spLocks noGrp="1"/>
          </p:cNvSpPr>
          <p:nvPr>
            <p:ph sz="quarter" idx="11"/>
          </p:nvPr>
        </p:nvSpPr>
        <p:spPr/>
        <p:txBody>
          <a:bodyPr/>
          <a:lstStyle/>
          <a:p>
            <a:endParaRPr lang="en-US" dirty="0"/>
          </a:p>
          <a:p>
            <a:r>
              <a:rPr lang="en-US" dirty="0"/>
              <a:t>OIL LOSS CLAIMS</a:t>
            </a:r>
          </a:p>
        </p:txBody>
      </p:sp>
      <p:sp>
        <p:nvSpPr>
          <p:cNvPr id="4" name="Slide Number Placeholder 3"/>
          <p:cNvSpPr>
            <a:spLocks noGrp="1"/>
          </p:cNvSpPr>
          <p:nvPr>
            <p:ph type="sldNum" sz="quarter" idx="4"/>
          </p:nvPr>
        </p:nvSpPr>
        <p:spPr>
          <a:xfrm>
            <a:off x="9896503" y="6398275"/>
            <a:ext cx="266673" cy="237744"/>
          </a:xfrm>
        </p:spPr>
        <p:txBody>
          <a:bodyPr/>
          <a:lstStyle/>
          <a:p>
            <a:pPr defTabSz="914400"/>
            <a:fld id="{D32BAE6A-B452-4007-8177-56DD051636F9}" type="slidenum">
              <a:rPr lang="en-GB">
                <a:solidFill>
                  <a:srgbClr val="595959"/>
                </a:solidFill>
                <a:latin typeface="Futura Medium"/>
              </a:rPr>
              <a:pPr defTabSz="914400"/>
              <a:t>14</a:t>
            </a:fld>
            <a:endParaRPr lang="en-GB" dirty="0">
              <a:solidFill>
                <a:srgbClr val="595959"/>
              </a:solidFill>
              <a:latin typeface="Futura Medium"/>
            </a:endParaRPr>
          </a:p>
        </p:txBody>
      </p:sp>
      <p:sp>
        <p:nvSpPr>
          <p:cNvPr id="5" name="Date Placeholder 4"/>
          <p:cNvSpPr>
            <a:spLocks noGrp="1"/>
          </p:cNvSpPr>
          <p:nvPr>
            <p:ph type="dt" sz="half" idx="2"/>
          </p:nvPr>
        </p:nvSpPr>
        <p:spPr>
          <a:xfrm>
            <a:off x="8816502" y="6478119"/>
            <a:ext cx="1080000" cy="237744"/>
          </a:xfrm>
        </p:spPr>
        <p:txBody>
          <a:bodyPr/>
          <a:lstStyle/>
          <a:p>
            <a:pPr defTabSz="914400"/>
            <a:r>
              <a:rPr lang="en-US" sz="1050" b="1" dirty="0">
                <a:solidFill>
                  <a:srgbClr val="595959"/>
                </a:solidFill>
                <a:latin typeface="Futura Medium"/>
              </a:rPr>
              <a:t>JANUARY 2024</a:t>
            </a:r>
            <a:endParaRPr lang="en-GB" sz="1050" b="1" dirty="0">
              <a:solidFill>
                <a:srgbClr val="595959"/>
              </a:solidFill>
              <a:latin typeface="Futura Medium"/>
            </a:endParaRPr>
          </a:p>
        </p:txBody>
      </p:sp>
      <p:sp>
        <p:nvSpPr>
          <p:cNvPr id="6" name="Footer Placeholder 5"/>
          <p:cNvSpPr>
            <a:spLocks noGrp="1"/>
          </p:cNvSpPr>
          <p:nvPr>
            <p:ph type="ftr" sz="quarter" idx="3"/>
          </p:nvPr>
        </p:nvSpPr>
        <p:spPr/>
        <p:txBody>
          <a:bodyPr/>
          <a:lstStyle/>
          <a:p>
            <a:pPr defTabSz="914400">
              <a:defRPr/>
            </a:pPr>
            <a:r>
              <a:rPr lang="en-GB" dirty="0">
                <a:solidFill>
                  <a:srgbClr val="595959"/>
                </a:solidFill>
                <a:latin typeface="Futura Medium"/>
              </a:rPr>
              <a:t>.</a:t>
            </a:r>
          </a:p>
        </p:txBody>
      </p:sp>
    </p:spTree>
    <p:extLst>
      <p:ext uri="{BB962C8B-B14F-4D97-AF65-F5344CB8AC3E}">
        <p14:creationId xmlns:p14="http://schemas.microsoft.com/office/powerpoint/2010/main" val="248966781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F5344-72F1-47B1-B80C-E738E5F873B3}"/>
              </a:ext>
            </a:extLst>
          </p:cNvPr>
          <p:cNvSpPr>
            <a:spLocks noGrp="1"/>
          </p:cNvSpPr>
          <p:nvPr>
            <p:ph type="title"/>
          </p:nvPr>
        </p:nvSpPr>
        <p:spPr/>
        <p:txBody>
          <a:bodyPr/>
          <a:lstStyle/>
          <a:p>
            <a:r>
              <a:rPr lang="en-US" dirty="0"/>
              <a:t>OVERVIEW OF OPEN OIL LOSS CLAIM</a:t>
            </a:r>
          </a:p>
        </p:txBody>
      </p:sp>
      <p:sp>
        <p:nvSpPr>
          <p:cNvPr id="4" name="Slide Number Placeholder 3">
            <a:extLst>
              <a:ext uri="{FF2B5EF4-FFF2-40B4-BE49-F238E27FC236}">
                <a16:creationId xmlns:a16="http://schemas.microsoft.com/office/drawing/2014/main" id="{E1078D94-4C80-4B1C-B66E-A38643880634}"/>
              </a:ext>
            </a:extLst>
          </p:cNvPr>
          <p:cNvSpPr>
            <a:spLocks noGrp="1"/>
          </p:cNvSpPr>
          <p:nvPr>
            <p:ph type="sldNum" sz="quarter" idx="4"/>
          </p:nvPr>
        </p:nvSpPr>
        <p:spPr/>
        <p:txBody>
          <a:bodyPr/>
          <a:lstStyle/>
          <a:p>
            <a:pPr defTabSz="914400"/>
            <a:fld id="{D32BAE6A-B452-4007-8177-56DD051636F9}" type="slidenum">
              <a:rPr lang="en-GB">
                <a:solidFill>
                  <a:srgbClr val="595959"/>
                </a:solidFill>
                <a:latin typeface="Futura Medium"/>
              </a:rPr>
              <a:pPr defTabSz="914400"/>
              <a:t>15</a:t>
            </a:fld>
            <a:endParaRPr lang="en-GB" dirty="0">
              <a:solidFill>
                <a:srgbClr val="595959"/>
              </a:solidFill>
              <a:latin typeface="Futura Medium"/>
            </a:endParaRPr>
          </a:p>
        </p:txBody>
      </p:sp>
      <p:sp>
        <p:nvSpPr>
          <p:cNvPr id="5" name="Date Placeholder 4">
            <a:extLst>
              <a:ext uri="{FF2B5EF4-FFF2-40B4-BE49-F238E27FC236}">
                <a16:creationId xmlns:a16="http://schemas.microsoft.com/office/drawing/2014/main" id="{F46C8FF9-82D8-4930-8B9C-B9C04217DF0E}"/>
              </a:ext>
            </a:extLst>
          </p:cNvPr>
          <p:cNvSpPr>
            <a:spLocks noGrp="1"/>
          </p:cNvSpPr>
          <p:nvPr>
            <p:ph type="dt" sz="half" idx="2"/>
          </p:nvPr>
        </p:nvSpPr>
        <p:spPr>
          <a:xfrm>
            <a:off x="8861024" y="6478119"/>
            <a:ext cx="1173897" cy="237744"/>
          </a:xfrm>
        </p:spPr>
        <p:txBody>
          <a:bodyPr/>
          <a:lstStyle/>
          <a:p>
            <a:pPr defTabSz="914400"/>
            <a:r>
              <a:rPr lang="en-US" sz="1100" b="1" dirty="0">
                <a:solidFill>
                  <a:srgbClr val="595959"/>
                </a:solidFill>
                <a:latin typeface="Futura Medium"/>
              </a:rPr>
              <a:t>JANUARY 2024</a:t>
            </a:r>
            <a:endParaRPr lang="en-GB" sz="1100" b="1" dirty="0">
              <a:solidFill>
                <a:srgbClr val="595959"/>
              </a:solidFill>
              <a:latin typeface="Futura Medium"/>
            </a:endParaRPr>
          </a:p>
        </p:txBody>
      </p:sp>
      <p:sp>
        <p:nvSpPr>
          <p:cNvPr id="6" name="Footer Placeholder 5">
            <a:extLst>
              <a:ext uri="{FF2B5EF4-FFF2-40B4-BE49-F238E27FC236}">
                <a16:creationId xmlns:a16="http://schemas.microsoft.com/office/drawing/2014/main" id="{A7630DE8-EF1E-4F7D-BD15-EA412A14450E}"/>
              </a:ext>
            </a:extLst>
          </p:cNvPr>
          <p:cNvSpPr>
            <a:spLocks noGrp="1"/>
          </p:cNvSpPr>
          <p:nvPr>
            <p:ph type="ftr" sz="quarter" idx="3"/>
          </p:nvPr>
        </p:nvSpPr>
        <p:spPr>
          <a:xfrm>
            <a:off x="4445529" y="6478119"/>
            <a:ext cx="3300663" cy="237744"/>
          </a:xfrm>
        </p:spPr>
        <p:txBody>
          <a:bodyPr/>
          <a:lstStyle/>
          <a:p>
            <a:pPr defTabSz="914400">
              <a:defRPr/>
            </a:pPr>
            <a:r>
              <a:rPr lang="en-GB" dirty="0">
                <a:solidFill>
                  <a:srgbClr val="595959"/>
                </a:solidFill>
                <a:latin typeface="Futura Medium"/>
              </a:rPr>
              <a:t>Footer</a:t>
            </a:r>
          </a:p>
        </p:txBody>
      </p:sp>
      <p:pic>
        <p:nvPicPr>
          <p:cNvPr id="14" name="Picture 13">
            <a:extLst>
              <a:ext uri="{FF2B5EF4-FFF2-40B4-BE49-F238E27FC236}">
                <a16:creationId xmlns:a16="http://schemas.microsoft.com/office/drawing/2014/main" id="{79D443EB-0B7E-302D-5EF1-422B58832CCD}"/>
              </a:ext>
            </a:extLst>
          </p:cNvPr>
          <p:cNvPicPr>
            <a:picLocks noChangeAspect="1"/>
          </p:cNvPicPr>
          <p:nvPr/>
        </p:nvPicPr>
        <p:blipFill>
          <a:blip r:embed="rId2"/>
          <a:stretch>
            <a:fillRect/>
          </a:stretch>
        </p:blipFill>
        <p:spPr>
          <a:xfrm>
            <a:off x="2076170" y="3791335"/>
            <a:ext cx="8134630" cy="1973092"/>
          </a:xfrm>
          <a:prstGeom prst="rect">
            <a:avLst/>
          </a:prstGeom>
        </p:spPr>
      </p:pic>
      <p:pic>
        <p:nvPicPr>
          <p:cNvPr id="11" name="Content Placeholder 10">
            <a:extLst>
              <a:ext uri="{FF2B5EF4-FFF2-40B4-BE49-F238E27FC236}">
                <a16:creationId xmlns:a16="http://schemas.microsoft.com/office/drawing/2014/main" id="{56B13A0A-0C5F-4EDC-BB55-90D5D1993CA7}"/>
              </a:ext>
            </a:extLst>
          </p:cNvPr>
          <p:cNvPicPr>
            <a:picLocks noGrp="1" noChangeAspect="1"/>
          </p:cNvPicPr>
          <p:nvPr>
            <p:ph sz="quarter" idx="11"/>
          </p:nvPr>
        </p:nvPicPr>
        <p:blipFill>
          <a:blip r:embed="rId3"/>
          <a:stretch>
            <a:fillRect/>
          </a:stretch>
        </p:blipFill>
        <p:spPr>
          <a:xfrm>
            <a:off x="2028265" y="1721224"/>
            <a:ext cx="8134350" cy="1861456"/>
          </a:xfrm>
          <a:prstGeom prst="rect">
            <a:avLst/>
          </a:prstGeom>
        </p:spPr>
      </p:pic>
    </p:spTree>
    <p:extLst>
      <p:ext uri="{BB962C8B-B14F-4D97-AF65-F5344CB8AC3E}">
        <p14:creationId xmlns:p14="http://schemas.microsoft.com/office/powerpoint/2010/main" val="411206754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000" y="712800"/>
            <a:ext cx="11171237" cy="439725"/>
          </a:xfrm>
        </p:spPr>
        <p:txBody>
          <a:bodyPr/>
          <a:lstStyle/>
          <a:p>
            <a:r>
              <a:rPr lang="en-GB" dirty="0"/>
              <a:t>Export claims 2022 and 2023</a:t>
            </a:r>
          </a:p>
        </p:txBody>
      </p:sp>
      <p:sp>
        <p:nvSpPr>
          <p:cNvPr id="2" name="Date Placeholder 1"/>
          <p:cNvSpPr>
            <a:spLocks noGrp="1"/>
          </p:cNvSpPr>
          <p:nvPr>
            <p:ph type="dt" sz="half" idx="2"/>
          </p:nvPr>
        </p:nvSpPr>
        <p:spPr/>
        <p:txBody>
          <a:bodyPr/>
          <a:lstStyle/>
          <a:p>
            <a:r>
              <a:rPr lang="en-GB" noProof="1"/>
              <a:t>January 2024</a:t>
            </a:r>
          </a:p>
        </p:txBody>
      </p:sp>
      <p:sp>
        <p:nvSpPr>
          <p:cNvPr id="6" name="Slide Number Placeholder 5"/>
          <p:cNvSpPr>
            <a:spLocks noGrp="1"/>
          </p:cNvSpPr>
          <p:nvPr>
            <p:ph type="sldNum" sz="quarter" idx="4"/>
          </p:nvPr>
        </p:nvSpPr>
        <p:spPr/>
        <p:txBody>
          <a:bodyPr/>
          <a:lstStyle/>
          <a:p>
            <a:fld id="{D32BAE6A-B452-4007-8177-56DD051636F9}" type="slidenum">
              <a:rPr lang="en-GB" noProof="1" smtClean="0"/>
              <a:pPr/>
              <a:t>16</a:t>
            </a:fld>
            <a:endParaRPr lang="en-GB" noProof="1"/>
          </a:p>
        </p:txBody>
      </p:sp>
      <p:sp>
        <p:nvSpPr>
          <p:cNvPr id="3" name="Footer Placeholder 2"/>
          <p:cNvSpPr>
            <a:spLocks noGrp="1"/>
          </p:cNvSpPr>
          <p:nvPr>
            <p:ph type="ftr" sz="quarter" idx="3"/>
          </p:nvPr>
        </p:nvSpPr>
        <p:spPr/>
        <p:txBody>
          <a:bodyPr/>
          <a:lstStyle/>
          <a:p>
            <a:r>
              <a:rPr lang="en-GB" noProof="1"/>
              <a:t> </a:t>
            </a:r>
          </a:p>
        </p:txBody>
      </p:sp>
      <p:graphicFrame>
        <p:nvGraphicFramePr>
          <p:cNvPr id="8" name="Table 16">
            <a:extLst>
              <a:ext uri="{FF2B5EF4-FFF2-40B4-BE49-F238E27FC236}">
                <a16:creationId xmlns:a16="http://schemas.microsoft.com/office/drawing/2014/main" id="{DBE1715E-2EE6-3B92-3EB7-D6B17EA94C2B}"/>
              </a:ext>
            </a:extLst>
          </p:cNvPr>
          <p:cNvGraphicFramePr>
            <a:graphicFrameLocks/>
          </p:cNvGraphicFramePr>
          <p:nvPr>
            <p:extLst>
              <p:ext uri="{D42A27DB-BD31-4B8C-83A1-F6EECF244321}">
                <p14:modId xmlns:p14="http://schemas.microsoft.com/office/powerpoint/2010/main" val="4023139731"/>
              </p:ext>
            </p:extLst>
          </p:nvPr>
        </p:nvGraphicFramePr>
        <p:xfrm>
          <a:off x="365760" y="1244000"/>
          <a:ext cx="11120438" cy="4537040"/>
        </p:xfrm>
        <a:graphic>
          <a:graphicData uri="http://schemas.openxmlformats.org/drawingml/2006/table">
            <a:tbl>
              <a:tblPr firstRow="1" bandRow="1"/>
              <a:tblGrid>
                <a:gridCol w="11120438">
                  <a:extLst>
                    <a:ext uri="{9D8B030D-6E8A-4147-A177-3AD203B41FA5}">
                      <a16:colId xmlns:a16="http://schemas.microsoft.com/office/drawing/2014/main" val="2453460233"/>
                    </a:ext>
                  </a:extLst>
                </a:gridCol>
              </a:tblGrid>
              <a:tr h="4537040">
                <a:tc>
                  <a:txBody>
                    <a:bodyPr/>
                    <a:lstStyle>
                      <a:lvl1pPr marL="0" algn="l" defTabSz="1219170" rtl="0" eaLnBrk="1" latinLnBrk="0" hangingPunct="1">
                        <a:defRPr sz="2400" b="1" kern="1200">
                          <a:solidFill>
                            <a:schemeClr val="lt1"/>
                          </a:solidFill>
                          <a:latin typeface="Futura Medium"/>
                        </a:defRPr>
                      </a:lvl1pPr>
                      <a:lvl2pPr marL="609585" algn="l" defTabSz="1219170" rtl="0" eaLnBrk="1" latinLnBrk="0" hangingPunct="1">
                        <a:defRPr sz="2400" b="1" kern="1200">
                          <a:solidFill>
                            <a:schemeClr val="lt1"/>
                          </a:solidFill>
                          <a:latin typeface="Futura Medium"/>
                        </a:defRPr>
                      </a:lvl2pPr>
                      <a:lvl3pPr marL="1219170" algn="l" defTabSz="1219170" rtl="0" eaLnBrk="1" latinLnBrk="0" hangingPunct="1">
                        <a:defRPr sz="2400" b="1" kern="1200">
                          <a:solidFill>
                            <a:schemeClr val="lt1"/>
                          </a:solidFill>
                          <a:latin typeface="Futura Medium"/>
                        </a:defRPr>
                      </a:lvl3pPr>
                      <a:lvl4pPr marL="1828754" algn="l" defTabSz="1219170" rtl="0" eaLnBrk="1" latinLnBrk="0" hangingPunct="1">
                        <a:defRPr sz="2400" b="1" kern="1200">
                          <a:solidFill>
                            <a:schemeClr val="lt1"/>
                          </a:solidFill>
                          <a:latin typeface="Futura Medium"/>
                        </a:defRPr>
                      </a:lvl4pPr>
                      <a:lvl5pPr marL="2438339" algn="l" defTabSz="1219170" rtl="0" eaLnBrk="1" latinLnBrk="0" hangingPunct="1">
                        <a:defRPr sz="2400" b="1" kern="1200">
                          <a:solidFill>
                            <a:schemeClr val="lt1"/>
                          </a:solidFill>
                          <a:latin typeface="Futura Medium"/>
                        </a:defRPr>
                      </a:lvl5pPr>
                      <a:lvl6pPr marL="3047924" algn="l" defTabSz="1219170" rtl="0" eaLnBrk="1" latinLnBrk="0" hangingPunct="1">
                        <a:defRPr sz="2400" b="1" kern="1200">
                          <a:solidFill>
                            <a:schemeClr val="lt1"/>
                          </a:solidFill>
                          <a:latin typeface="Futura Medium"/>
                        </a:defRPr>
                      </a:lvl6pPr>
                      <a:lvl7pPr marL="3657509" algn="l" defTabSz="1219170" rtl="0" eaLnBrk="1" latinLnBrk="0" hangingPunct="1">
                        <a:defRPr sz="2400" b="1" kern="1200">
                          <a:solidFill>
                            <a:schemeClr val="lt1"/>
                          </a:solidFill>
                          <a:latin typeface="Futura Medium"/>
                        </a:defRPr>
                      </a:lvl7pPr>
                      <a:lvl8pPr marL="4267093" algn="l" defTabSz="1219170" rtl="0" eaLnBrk="1" latinLnBrk="0" hangingPunct="1">
                        <a:defRPr sz="2400" b="1" kern="1200">
                          <a:solidFill>
                            <a:schemeClr val="lt1"/>
                          </a:solidFill>
                          <a:latin typeface="Futura Medium"/>
                        </a:defRPr>
                      </a:lvl8pPr>
                      <a:lvl9pPr marL="4876678" algn="l" defTabSz="1219170" rtl="0" eaLnBrk="1" latinLnBrk="0" hangingPunct="1">
                        <a:defRPr sz="2400" b="1" kern="1200">
                          <a:solidFill>
                            <a:schemeClr val="lt1"/>
                          </a:solidFill>
                          <a:latin typeface="Futura Medium"/>
                        </a:defRPr>
                      </a:lvl9pPr>
                    </a:lstStyle>
                    <a:p>
                      <a:pPr marL="11430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b="0" kern="1200" dirty="0">
                        <a:solidFill>
                          <a:srgbClr val="404040">
                            <a:hueOff val="0"/>
                            <a:satOff val="0"/>
                            <a:lumOff val="0"/>
                            <a:alphaOff val="0"/>
                          </a:srgbClr>
                        </a:solidFill>
                        <a:latin typeface="ShellMedium"/>
                        <a:ea typeface="+mn-ea"/>
                        <a:cs typeface="+mn-cs"/>
                      </a:endParaRPr>
                    </a:p>
                  </a:txBody>
                  <a:tcPr anchor="ctr">
                    <a:lnL w="381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1417013688"/>
                  </a:ext>
                </a:extLst>
              </a:tr>
            </a:tbl>
          </a:graphicData>
        </a:graphic>
      </p:graphicFrame>
      <p:pic>
        <p:nvPicPr>
          <p:cNvPr id="9" name="Picture 8">
            <a:extLst>
              <a:ext uri="{FF2B5EF4-FFF2-40B4-BE49-F238E27FC236}">
                <a16:creationId xmlns:a16="http://schemas.microsoft.com/office/drawing/2014/main" id="{00962557-B19A-95D9-2344-A90F64C021B4}"/>
              </a:ext>
            </a:extLst>
          </p:cNvPr>
          <p:cNvPicPr>
            <a:picLocks noChangeAspect="1"/>
          </p:cNvPicPr>
          <p:nvPr/>
        </p:nvPicPr>
        <p:blipFill>
          <a:blip r:embed="rId3"/>
          <a:stretch>
            <a:fillRect/>
          </a:stretch>
        </p:blipFill>
        <p:spPr>
          <a:xfrm>
            <a:off x="1351280" y="1737360"/>
            <a:ext cx="9194800" cy="3606799"/>
          </a:xfrm>
          <a:prstGeom prst="rect">
            <a:avLst/>
          </a:prstGeom>
        </p:spPr>
      </p:pic>
    </p:spTree>
    <p:extLst>
      <p:ext uri="{BB962C8B-B14F-4D97-AF65-F5344CB8AC3E}">
        <p14:creationId xmlns:p14="http://schemas.microsoft.com/office/powerpoint/2010/main" val="2177769906"/>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EDE8D515-0E92-820E-1A89-ECD5B12C00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5" name="Object 24" hidden="1">
                        <a:extLst>
                          <a:ext uri="{FF2B5EF4-FFF2-40B4-BE49-F238E27FC236}">
                            <a16:creationId xmlns:a16="http://schemas.microsoft.com/office/drawing/2014/main" id="{EDE8D515-0E92-820E-1A89-ECD5B12C0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F54CDC7A-E668-8E9E-88AB-5DA81BF3E5A3}"/>
              </a:ext>
            </a:extLst>
          </p:cNvPr>
          <p:cNvSpPr/>
          <p:nvPr/>
        </p:nvSpPr>
        <p:spPr>
          <a:xfrm>
            <a:off x="209763" y="1117646"/>
            <a:ext cx="3295438" cy="231135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Futura Medium"/>
              <a:ea typeface="+mn-ea"/>
              <a:cs typeface="+mn-cs"/>
            </a:endParaRPr>
          </a:p>
        </p:txBody>
      </p:sp>
      <p:graphicFrame>
        <p:nvGraphicFramePr>
          <p:cNvPr id="8" name="Group 111">
            <a:extLst>
              <a:ext uri="{FF2B5EF4-FFF2-40B4-BE49-F238E27FC236}">
                <a16:creationId xmlns:a16="http://schemas.microsoft.com/office/drawing/2014/main" id="{B22D0410-8B28-79FC-AAC4-FA6F058E117C}"/>
              </a:ext>
            </a:extLst>
          </p:cNvPr>
          <p:cNvGraphicFramePr>
            <a:graphicFrameLocks noGrp="1"/>
          </p:cNvGraphicFramePr>
          <p:nvPr>
            <p:extLst>
              <p:ext uri="{D42A27DB-BD31-4B8C-83A1-F6EECF244321}">
                <p14:modId xmlns:p14="http://schemas.microsoft.com/office/powerpoint/2010/main" val="2438743641"/>
              </p:ext>
            </p:extLst>
          </p:nvPr>
        </p:nvGraphicFramePr>
        <p:xfrm>
          <a:off x="7185145" y="1961221"/>
          <a:ext cx="2068922" cy="4270396"/>
        </p:xfrm>
        <a:graphic>
          <a:graphicData uri="http://schemas.openxmlformats.org/drawingml/2006/table">
            <a:tbl>
              <a:tblPr>
                <a:effectLst>
                  <a:outerShdw blurRad="63500" sx="101000" sy="101000" algn="ctr" rotWithShape="0">
                    <a:prstClr val="black">
                      <a:alpha val="40000"/>
                    </a:prstClr>
                  </a:outerShdw>
                </a:effectLst>
              </a:tblPr>
              <a:tblGrid>
                <a:gridCol w="2068922">
                  <a:extLst>
                    <a:ext uri="{9D8B030D-6E8A-4147-A177-3AD203B41FA5}">
                      <a16:colId xmlns:a16="http://schemas.microsoft.com/office/drawing/2014/main" val="20001"/>
                    </a:ext>
                  </a:extLst>
                </a:gridCol>
              </a:tblGrid>
              <a:tr h="4270396">
                <a:tc>
                  <a:txBody>
                    <a:bodyPr/>
                    <a:lstStyle/>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Understand what it takes to deliver a ‘perfect’ offtake</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Close identified gaps/root causes that contribute to demurrage cost</a:t>
                      </a:r>
                      <a:endParaRPr lang="en-GB" sz="1100" kern="1200" dirty="0">
                        <a:solidFill>
                          <a:srgbClr val="292929"/>
                        </a:solidFill>
                        <a:effectLst/>
                        <a:latin typeface="ShellLight" panose="00000400000000000000" pitchFamily="50" charset="0"/>
                        <a:ea typeface="+mn-ea"/>
                        <a:cs typeface="Times New Roman" panose="02020603050405020304" pitchFamily="18" charset="0"/>
                      </a:endParaRP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GB" sz="1100" kern="1200" dirty="0">
                          <a:solidFill>
                            <a:srgbClr val="292929"/>
                          </a:solidFill>
                          <a:effectLst/>
                          <a:latin typeface="ShellLight" panose="00000400000000000000" pitchFamily="50" charset="0"/>
                          <a:ea typeface="+mn-ea"/>
                          <a:cs typeface="Times New Roman" panose="02020603050405020304" pitchFamily="18" charset="0"/>
                        </a:rPr>
                        <a:t>Implement a performance measurement and monitoring system to sustain improvement</a:t>
                      </a:r>
                    </a:p>
                    <a:p>
                      <a:pPr marL="171450" marR="0" lvl="0" indent="-171450" algn="l" defTabSz="914400" rtl="0" eaLnBrk="1" fontAlgn="auto" latinLnBrk="0" hangingPunct="1">
                        <a:lnSpc>
                          <a:spcPct val="112000"/>
                        </a:lnSpc>
                        <a:spcBef>
                          <a:spcPts val="0"/>
                        </a:spcBef>
                        <a:spcAft>
                          <a:spcPts val="0"/>
                        </a:spcAft>
                        <a:buClr>
                          <a:srgbClr val="C00000"/>
                        </a:buClr>
                        <a:buSzTx/>
                        <a:buFont typeface="Wingdings" panose="05000000000000000000" pitchFamily="2" charset="2"/>
                        <a:buChar char="§"/>
                        <a:tabLst/>
                        <a:defRPr/>
                      </a:pPr>
                      <a:endParaRPr lang="en-GB" sz="1100" kern="1200" dirty="0">
                        <a:solidFill>
                          <a:srgbClr val="292929"/>
                        </a:solidFill>
                        <a:effectLst/>
                        <a:latin typeface="ShellLight" panose="00000400000000000000" pitchFamily="50" charset="0"/>
                        <a:ea typeface="+mn-ea"/>
                        <a:cs typeface="Times New Roman" panose="02020603050405020304" pitchFamily="18" charset="0"/>
                      </a:endParaRPr>
                    </a:p>
                  </a:txBody>
                  <a:tcP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4" name="TextBox 3">
            <a:extLst>
              <a:ext uri="{FF2B5EF4-FFF2-40B4-BE49-F238E27FC236}">
                <a16:creationId xmlns:a16="http://schemas.microsoft.com/office/drawing/2014/main" id="{418110B4-5567-DEA2-5C88-D9257B885623}"/>
              </a:ext>
            </a:extLst>
          </p:cNvPr>
          <p:cNvSpPr txBox="1"/>
          <p:nvPr/>
        </p:nvSpPr>
        <p:spPr bwMode="auto">
          <a:xfrm>
            <a:off x="209763" y="3476946"/>
            <a:ext cx="3101928" cy="174791"/>
          </a:xfrm>
          <a:prstGeom prst="rect">
            <a:avLst/>
          </a:prstGeom>
          <a:noFill/>
          <a:ln w="9525" algn="ctr">
            <a:noFill/>
            <a:miter lim="800000"/>
            <a:headEnd/>
            <a:tailEnd/>
          </a:ln>
        </p:spPr>
        <p:txBody>
          <a:bodyPr vert="horz" wrap="square" lIns="0" tIns="0" rIns="0" bIns="0" numCol="1" rtlCol="0" anchor="t" anchorCtr="0" compatLnSpc="1">
            <a:prstTxWarp prst="textNoShape">
              <a:avLst/>
            </a:prstTxWarp>
            <a:spAutoFit/>
          </a:bodyPr>
          <a:lstStyle/>
          <a:p>
            <a:pPr marL="201613" marR="0" lvl="0" indent="-201613" algn="l" defTabSz="357708" rtl="0" eaLnBrk="1" fontAlgn="auto" latinLnBrk="0" hangingPunct="1">
              <a:lnSpc>
                <a:spcPct val="140000"/>
              </a:lnSpc>
              <a:spcBef>
                <a:spcPts val="0"/>
              </a:spcBef>
              <a:spcAft>
                <a:spcPts val="0"/>
              </a:spcAft>
              <a:buClr>
                <a:srgbClr val="DD1D21"/>
              </a:buClr>
              <a:buSzPct val="85000"/>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Futura Medium"/>
                <a:ea typeface="+mn-ea"/>
                <a:cs typeface="+mn-cs"/>
              </a:rPr>
              <a:t>Fig: </a:t>
            </a:r>
            <a:r>
              <a:rPr lang="en-US" sz="900" i="1" dirty="0">
                <a:solidFill>
                  <a:srgbClr val="000000"/>
                </a:solidFill>
                <a:latin typeface="Futura Medium"/>
              </a:rPr>
              <a:t>Demurrage</a:t>
            </a:r>
            <a:r>
              <a:rPr kumimoji="0" lang="en-US" sz="900" b="0" i="1" u="none" strike="noStrike" kern="1200" cap="none" spc="0" normalizeH="0" baseline="0" noProof="0" dirty="0">
                <a:ln>
                  <a:noFill/>
                </a:ln>
                <a:solidFill>
                  <a:srgbClr val="000000"/>
                </a:solidFill>
                <a:effectLst/>
                <a:uLnTx/>
                <a:uFillTx/>
                <a:latin typeface="Futura Medium"/>
                <a:ea typeface="+mn-ea"/>
                <a:cs typeface="+mn-cs"/>
              </a:rPr>
              <a:t> Reduction Staircase</a:t>
            </a:r>
          </a:p>
        </p:txBody>
      </p:sp>
      <p:graphicFrame>
        <p:nvGraphicFramePr>
          <p:cNvPr id="2" name="Table 7">
            <a:extLst>
              <a:ext uri="{FF2B5EF4-FFF2-40B4-BE49-F238E27FC236}">
                <a16:creationId xmlns:a16="http://schemas.microsoft.com/office/drawing/2014/main" id="{F7D5C95D-A8F8-2585-22B7-DF446277203A}"/>
              </a:ext>
            </a:extLst>
          </p:cNvPr>
          <p:cNvGraphicFramePr>
            <a:graphicFrameLocks noGrp="1"/>
          </p:cNvGraphicFramePr>
          <p:nvPr>
            <p:extLst>
              <p:ext uri="{D42A27DB-BD31-4B8C-83A1-F6EECF244321}">
                <p14:modId xmlns:p14="http://schemas.microsoft.com/office/powerpoint/2010/main" val="3380963661"/>
              </p:ext>
            </p:extLst>
          </p:nvPr>
        </p:nvGraphicFramePr>
        <p:xfrm>
          <a:off x="310102" y="1352908"/>
          <a:ext cx="3079547" cy="1748896"/>
        </p:xfrm>
        <a:graphic>
          <a:graphicData uri="http://schemas.openxmlformats.org/drawingml/2006/table">
            <a:tbl>
              <a:tblPr firstRow="1" bandRow="1">
                <a:tableStyleId>{5C22544A-7EE6-4342-B048-85BDC9FD1C3A}</a:tableStyleId>
              </a:tblPr>
              <a:tblGrid>
                <a:gridCol w="718651">
                  <a:extLst>
                    <a:ext uri="{9D8B030D-6E8A-4147-A177-3AD203B41FA5}">
                      <a16:colId xmlns:a16="http://schemas.microsoft.com/office/drawing/2014/main" val="1930571361"/>
                    </a:ext>
                  </a:extLst>
                </a:gridCol>
                <a:gridCol w="341325">
                  <a:extLst>
                    <a:ext uri="{9D8B030D-6E8A-4147-A177-3AD203B41FA5}">
                      <a16:colId xmlns:a16="http://schemas.microsoft.com/office/drawing/2014/main" val="3448836863"/>
                    </a:ext>
                  </a:extLst>
                </a:gridCol>
                <a:gridCol w="446312">
                  <a:extLst>
                    <a:ext uri="{9D8B030D-6E8A-4147-A177-3AD203B41FA5}">
                      <a16:colId xmlns:a16="http://schemas.microsoft.com/office/drawing/2014/main" val="2734523406"/>
                    </a:ext>
                  </a:extLst>
                </a:gridCol>
                <a:gridCol w="1573259">
                  <a:extLst>
                    <a:ext uri="{9D8B030D-6E8A-4147-A177-3AD203B41FA5}">
                      <a16:colId xmlns:a16="http://schemas.microsoft.com/office/drawing/2014/main" val="3935177054"/>
                    </a:ext>
                  </a:extLst>
                </a:gridCol>
              </a:tblGrid>
              <a:tr h="437224">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b="1" kern="1200">
                          <a:solidFill>
                            <a:schemeClr val="bg1"/>
                          </a:solidFill>
                          <a:latin typeface="+mn-lt"/>
                          <a:ea typeface="+mn-ea"/>
                          <a:cs typeface="+mn-cs"/>
                        </a:rPr>
                        <a:t>Targe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50000"/>
                      </a:schemeClr>
                    </a:solidFill>
                  </a:tcPr>
                </a:tc>
                <a:tc gridSpan="3">
                  <a:txBody>
                    <a:bodyPr/>
                    <a:lstStyle/>
                    <a:p>
                      <a:pPr algn="r"/>
                      <a:r>
                        <a:rPr lang="en-US" sz="800" b="0" kern="1200" dirty="0">
                          <a:solidFill>
                            <a:srgbClr val="000000"/>
                          </a:solidFill>
                          <a:latin typeface="+mn-lt"/>
                          <a:ea typeface="+mn-ea"/>
                          <a:cs typeface="+mn-cs"/>
                        </a:rPr>
                        <a:t>Zero demurrage cost incurre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tc hMerge="1">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hMerge="1">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969618657"/>
                  </a:ext>
                </a:extLst>
              </a:tr>
              <a:tr h="437224">
                <a:tc>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r"/>
                      <a:r>
                        <a:rPr lang="en-US" sz="800" dirty="0">
                          <a:solidFill>
                            <a:srgbClr val="000000"/>
                          </a:solidFill>
                        </a:rPr>
                        <a:t>Production forecast stabilit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1362416874"/>
                  </a:ext>
                </a:extLst>
              </a:tr>
              <a:tr h="437224">
                <a:tc>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a:endParaRPr lang="en-US"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gridSpan="2">
                  <a:txBody>
                    <a:bodyPr/>
                    <a:lstStyle/>
                    <a:p>
                      <a:pPr algn="r"/>
                      <a:r>
                        <a:rPr lang="en-US" sz="800" dirty="0">
                          <a:solidFill>
                            <a:schemeClr val="bg1"/>
                          </a:solidFill>
                        </a:rPr>
                        <a:t>Enhanced tanker turnaround tim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F7F7F"/>
                    </a:solidFill>
                  </a:tcPr>
                </a:tc>
                <a:tc hMerge="1">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00"/>
                    </a:solidFill>
                  </a:tcPr>
                </a:tc>
                <a:extLst>
                  <a:ext uri="{0D108BD9-81ED-4DB2-BD59-A6C34878D82A}">
                    <a16:rowId xmlns:a16="http://schemas.microsoft.com/office/drawing/2014/main" val="3478736752"/>
                  </a:ext>
                </a:extLst>
              </a:tr>
              <a:tr h="437224">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800" b="1" dirty="0">
                          <a:solidFill>
                            <a:srgbClr val="000000"/>
                          </a:solidFill>
                        </a:rPr>
                        <a:t>Current State</a:t>
                      </a:r>
                      <a:endParaRPr lang="en-US" sz="800" dirty="0">
                        <a:solidFill>
                          <a:srgbClr val="000000"/>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BCE07"/>
                    </a:solidFill>
                  </a:tcPr>
                </a:tc>
                <a:tc gridSpan="3">
                  <a:txBody>
                    <a:bodyPr/>
                    <a:lstStyle/>
                    <a:p>
                      <a:pPr algn="r"/>
                      <a:r>
                        <a:rPr lang="en-US" sz="800" dirty="0">
                          <a:solidFill>
                            <a:srgbClr val="000000"/>
                          </a:solidFill>
                        </a:rPr>
                        <a:t>Baseline Performanc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00"/>
                    </a:solidFill>
                  </a:tcPr>
                </a:tc>
                <a:tc hMerge="1">
                  <a:txBody>
                    <a:bodyPr/>
                    <a:lstStyle/>
                    <a:p>
                      <a:pPr algn="ctr"/>
                      <a:endParaRPr lang="en-US" sz="100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00"/>
                    </a:solidFill>
                  </a:tcPr>
                </a:tc>
                <a:extLst>
                  <a:ext uri="{0D108BD9-81ED-4DB2-BD59-A6C34878D82A}">
                    <a16:rowId xmlns:a16="http://schemas.microsoft.com/office/drawing/2014/main" val="1910027042"/>
                  </a:ext>
                </a:extLst>
              </a:tr>
            </a:tbl>
          </a:graphicData>
        </a:graphic>
      </p:graphicFrame>
      <p:graphicFrame>
        <p:nvGraphicFramePr>
          <p:cNvPr id="10" name="Group 111">
            <a:extLst>
              <a:ext uri="{FF2B5EF4-FFF2-40B4-BE49-F238E27FC236}">
                <a16:creationId xmlns:a16="http://schemas.microsoft.com/office/drawing/2014/main" id="{1E831E56-D80E-E3FB-0ED8-3EAF48F45515}"/>
              </a:ext>
            </a:extLst>
          </p:cNvPr>
          <p:cNvGraphicFramePr>
            <a:graphicFrameLocks noGrp="1"/>
          </p:cNvGraphicFramePr>
          <p:nvPr>
            <p:extLst>
              <p:ext uri="{D42A27DB-BD31-4B8C-83A1-F6EECF244321}">
                <p14:modId xmlns:p14="http://schemas.microsoft.com/office/powerpoint/2010/main" val="1546124591"/>
              </p:ext>
            </p:extLst>
          </p:nvPr>
        </p:nvGraphicFramePr>
        <p:xfrm>
          <a:off x="3621094" y="1961221"/>
          <a:ext cx="3383280" cy="4270396"/>
        </p:xfrm>
        <a:graphic>
          <a:graphicData uri="http://schemas.openxmlformats.org/drawingml/2006/table">
            <a:tbl>
              <a:tblPr>
                <a:effectLst>
                  <a:outerShdw blurRad="63500" sx="101000" sy="101000" algn="ctr" rotWithShape="0">
                    <a:prstClr val="black">
                      <a:alpha val="40000"/>
                    </a:prstClr>
                  </a:outerShdw>
                </a:effectLst>
              </a:tblPr>
              <a:tblGrid>
                <a:gridCol w="3383280">
                  <a:extLst>
                    <a:ext uri="{9D8B030D-6E8A-4147-A177-3AD203B41FA5}">
                      <a16:colId xmlns:a16="http://schemas.microsoft.com/office/drawing/2014/main" val="20000"/>
                    </a:ext>
                  </a:extLst>
                </a:gridCol>
              </a:tblGrid>
              <a:tr h="4270396">
                <a:tc>
                  <a:txBody>
                    <a:bodyPr/>
                    <a:lstStyle/>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SPDC experienced increased value erosion from demurrage claims in the past four years. Total claims rose from ~$6.4m in 2020 to ~$23m in 2023 largely due to slower loading at Forcados Terminal caused by SPM integrity issues/outage and awaiting cargo in Bonny Terminal due to lower receipts from TNP.</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In line with the drive to improve cost competitiveness, an ambitious 2024 business plan was endorsed with a  provision for demurrage capped at $7.2m</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With the restoration of FSPM1 and proven functionality of the Tri Catenary Mooring system, more focus and cross-functional integration is required to achieve and sustain “offtake ready everyday” across SPDC Terminals.</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kern="1200" dirty="0">
                          <a:solidFill>
                            <a:srgbClr val="292929"/>
                          </a:solidFill>
                          <a:effectLst/>
                          <a:latin typeface="ShellLight" panose="00000400000000000000" pitchFamily="50" charset="0"/>
                          <a:ea typeface="+mn-ea"/>
                          <a:cs typeface="Times New Roman" panose="02020603050405020304" pitchFamily="18" charset="0"/>
                        </a:rPr>
                        <a:t>Ambition is to incur ZERO demurrage claims charge in 2024.</a:t>
                      </a:r>
                    </a:p>
                  </a:txBody>
                  <a:tcP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15" name="Group 111">
            <a:extLst>
              <a:ext uri="{FF2B5EF4-FFF2-40B4-BE49-F238E27FC236}">
                <a16:creationId xmlns:a16="http://schemas.microsoft.com/office/drawing/2014/main" id="{3B64B6EB-2A81-A51C-6754-9066D5DC93EB}"/>
              </a:ext>
            </a:extLst>
          </p:cNvPr>
          <p:cNvGraphicFramePr>
            <a:graphicFrameLocks noGrp="1"/>
          </p:cNvGraphicFramePr>
          <p:nvPr>
            <p:extLst>
              <p:ext uri="{D42A27DB-BD31-4B8C-83A1-F6EECF244321}">
                <p14:modId xmlns:p14="http://schemas.microsoft.com/office/powerpoint/2010/main" val="1786812918"/>
              </p:ext>
            </p:extLst>
          </p:nvPr>
        </p:nvGraphicFramePr>
        <p:xfrm>
          <a:off x="9434838" y="1961221"/>
          <a:ext cx="2503078" cy="4270396"/>
        </p:xfrm>
        <a:graphic>
          <a:graphicData uri="http://schemas.openxmlformats.org/drawingml/2006/table">
            <a:tbl>
              <a:tblPr>
                <a:effectLst>
                  <a:outerShdw blurRad="63500" sx="101000" sy="101000" algn="ctr" rotWithShape="0">
                    <a:prstClr val="black">
                      <a:alpha val="40000"/>
                    </a:prstClr>
                  </a:outerShdw>
                </a:effectLst>
              </a:tblPr>
              <a:tblGrid>
                <a:gridCol w="2503078">
                  <a:extLst>
                    <a:ext uri="{9D8B030D-6E8A-4147-A177-3AD203B41FA5}">
                      <a16:colId xmlns:a16="http://schemas.microsoft.com/office/drawing/2014/main" val="20002"/>
                    </a:ext>
                  </a:extLst>
                </a:gridCol>
              </a:tblGrid>
              <a:tr h="4270396">
                <a:tc>
                  <a:txBody>
                    <a:bodyPr/>
                    <a:lstStyle/>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dirty="0">
                          <a:solidFill>
                            <a:srgbClr val="292929"/>
                          </a:solidFill>
                          <a:effectLst/>
                          <a:latin typeface="ShellLight" panose="00000400000000000000" pitchFamily="50" charset="0"/>
                          <a:ea typeface="Calibri" panose="020F0502020204030204" pitchFamily="34" charset="0"/>
                          <a:cs typeface="Times New Roman" panose="02020603050405020304" pitchFamily="18" charset="0"/>
                        </a:rPr>
                        <a:t>Deliver ~$7m OPEX cost savings in 2024</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dirty="0">
                          <a:solidFill>
                            <a:srgbClr val="292929"/>
                          </a:solidFill>
                          <a:effectLst/>
                          <a:latin typeface="ShellLight" panose="00000400000000000000" pitchFamily="50" charset="0"/>
                          <a:ea typeface="Calibri" panose="020F0502020204030204" pitchFamily="34" charset="0"/>
                          <a:cs typeface="Times New Roman" panose="02020603050405020304" pitchFamily="18" charset="0"/>
                        </a:rPr>
                        <a:t>Prevent &gt; $20million/annum value erosion</a:t>
                      </a:r>
                    </a:p>
                    <a:p>
                      <a:pPr marL="171450" marR="0" lvl="0" indent="-171450" algn="l" defTabSz="914400" rtl="0" eaLnBrk="1" fontAlgn="auto" latinLnBrk="0" hangingPunct="1">
                        <a:lnSpc>
                          <a:spcPct val="114000"/>
                        </a:lnSpc>
                        <a:spcBef>
                          <a:spcPts val="0"/>
                        </a:spcBef>
                        <a:spcAft>
                          <a:spcPts val="0"/>
                        </a:spcAft>
                        <a:buClr>
                          <a:srgbClr val="C00000"/>
                        </a:buClr>
                        <a:buSzTx/>
                        <a:buFont typeface="Wingdings" panose="05000000000000000000" pitchFamily="2" charset="2"/>
                        <a:buChar char="§"/>
                        <a:tabLst/>
                        <a:defRPr/>
                      </a:pPr>
                      <a:r>
                        <a:rPr lang="en-US" sz="1100" dirty="0">
                          <a:solidFill>
                            <a:srgbClr val="292929"/>
                          </a:solidFill>
                          <a:effectLst/>
                          <a:latin typeface="ShellLight" panose="00000400000000000000" pitchFamily="50" charset="0"/>
                          <a:ea typeface="Calibri" panose="020F0502020204030204" pitchFamily="34" charset="0"/>
                          <a:cs typeface="Times New Roman" panose="02020603050405020304" pitchFamily="18" charset="0"/>
                        </a:rPr>
                        <a:t>Lower unit operating cost for SPDC Export Terminals</a:t>
                      </a:r>
                    </a:p>
                    <a:p>
                      <a:pPr marL="171450" marR="0" lvl="0" indent="-171450" algn="just" defTabSz="914400" rtl="0" eaLnBrk="1" fontAlgn="auto" latinLnBrk="0" hangingPunct="1">
                        <a:lnSpc>
                          <a:spcPct val="112000"/>
                        </a:lnSpc>
                        <a:spcBef>
                          <a:spcPts val="0"/>
                        </a:spcBef>
                        <a:spcAft>
                          <a:spcPts val="0"/>
                        </a:spcAft>
                        <a:buClrTx/>
                        <a:buSzTx/>
                        <a:buFont typeface="Wingdings" panose="05000000000000000000" pitchFamily="2" charset="2"/>
                        <a:buChar char="§"/>
                        <a:tabLst/>
                        <a:defRPr/>
                      </a:pPr>
                      <a:endParaRPr kumimoji="0" lang="en-GB" sz="1100" b="0" i="0" u="none" strike="noStrike" kern="1200" cap="none" spc="0" normalizeH="0" baseline="0" dirty="0">
                        <a:ln>
                          <a:noFill/>
                        </a:ln>
                        <a:solidFill>
                          <a:srgbClr val="292929"/>
                        </a:solidFill>
                        <a:effectLst/>
                        <a:uLnTx/>
                        <a:uFillTx/>
                        <a:latin typeface="ShellLight" panose="00000400000000000000" pitchFamily="50" charset="0"/>
                        <a:ea typeface="+mn-ea"/>
                        <a:cs typeface="+mn-cs"/>
                      </a:endParaRPr>
                    </a:p>
                  </a:txBody>
                  <a:tcP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12" name="Group 111">
            <a:extLst>
              <a:ext uri="{FF2B5EF4-FFF2-40B4-BE49-F238E27FC236}">
                <a16:creationId xmlns:a16="http://schemas.microsoft.com/office/drawing/2014/main" id="{8B0D94AA-F72A-343F-0CDD-0384A777EF21}"/>
              </a:ext>
            </a:extLst>
          </p:cNvPr>
          <p:cNvGraphicFramePr>
            <a:graphicFrameLocks noGrp="1"/>
          </p:cNvGraphicFramePr>
          <p:nvPr>
            <p:extLst>
              <p:ext uri="{D42A27DB-BD31-4B8C-83A1-F6EECF244321}">
                <p14:modId xmlns:p14="http://schemas.microsoft.com/office/powerpoint/2010/main" val="2175298717"/>
              </p:ext>
            </p:extLst>
          </p:nvPr>
        </p:nvGraphicFramePr>
        <p:xfrm>
          <a:off x="7185145" y="1117647"/>
          <a:ext cx="2068922" cy="734245"/>
        </p:xfrm>
        <a:graphic>
          <a:graphicData uri="http://schemas.openxmlformats.org/drawingml/2006/table">
            <a:tbl>
              <a:tblPr>
                <a:effectLst>
                  <a:outerShdw blurRad="50800" dist="38100" dir="2700000" algn="tl" rotWithShape="0">
                    <a:prstClr val="black">
                      <a:alpha val="40000"/>
                    </a:prstClr>
                  </a:outerShdw>
                </a:effectLst>
              </a:tblPr>
              <a:tblGrid>
                <a:gridCol w="2068922">
                  <a:extLst>
                    <a:ext uri="{9D8B030D-6E8A-4147-A177-3AD203B41FA5}">
                      <a16:colId xmlns:a16="http://schemas.microsoft.com/office/drawing/2014/main" val="20001"/>
                    </a:ext>
                  </a:extLst>
                </a:gridCol>
              </a:tblGrid>
              <a:tr h="734245">
                <a:tc>
                  <a:txBody>
                    <a:bodyPr/>
                    <a:lstStyle/>
                    <a:p>
                      <a:pPr marL="0" marR="0" lvl="0" indent="0" algn="ctr" defTabSz="914400" rtl="0" eaLnBrk="0" fontAlgn="base" latinLnBrk="0" hangingPunct="0">
                        <a:lnSpc>
                          <a:spcPct val="100000"/>
                        </a:lnSpc>
                        <a:spcBef>
                          <a:spcPct val="0"/>
                        </a:spcBef>
                        <a:spcAft>
                          <a:spcPct val="30000"/>
                        </a:spcAft>
                        <a:buClrTx/>
                        <a:buSzTx/>
                        <a:buFontTx/>
                        <a:buNone/>
                        <a:tabLst/>
                      </a:pPr>
                      <a:r>
                        <a:rPr kumimoji="0" lang="en-US" sz="1800" b="1" i="0" u="none" strike="noStrike" kern="1200" cap="none" normalizeH="0" baseline="0" dirty="0">
                          <a:ln>
                            <a:noFill/>
                          </a:ln>
                          <a:solidFill>
                            <a:schemeClr val="bg1"/>
                          </a:solidFill>
                          <a:effectLst/>
                          <a:latin typeface="+mn-lt"/>
                          <a:ea typeface="+mn-ea"/>
                          <a:cs typeface="Arial"/>
                        </a:rPr>
                        <a:t>Objectives</a:t>
                      </a:r>
                    </a:p>
                  </a:txBody>
                  <a:tcPr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17" name="Group 111">
            <a:extLst>
              <a:ext uri="{FF2B5EF4-FFF2-40B4-BE49-F238E27FC236}">
                <a16:creationId xmlns:a16="http://schemas.microsoft.com/office/drawing/2014/main" id="{4D0FEC4C-B5D1-718E-4C5C-2914F345FAE1}"/>
              </a:ext>
            </a:extLst>
          </p:cNvPr>
          <p:cNvGraphicFramePr>
            <a:graphicFrameLocks noGrp="1"/>
          </p:cNvGraphicFramePr>
          <p:nvPr>
            <p:extLst>
              <p:ext uri="{D42A27DB-BD31-4B8C-83A1-F6EECF244321}">
                <p14:modId xmlns:p14="http://schemas.microsoft.com/office/powerpoint/2010/main" val="2248367644"/>
              </p:ext>
            </p:extLst>
          </p:nvPr>
        </p:nvGraphicFramePr>
        <p:xfrm>
          <a:off x="9434838" y="1119481"/>
          <a:ext cx="2503078" cy="731520"/>
        </p:xfrm>
        <a:graphic>
          <a:graphicData uri="http://schemas.openxmlformats.org/drawingml/2006/table">
            <a:tbl>
              <a:tblPr>
                <a:effectLst>
                  <a:outerShdw blurRad="50800" dist="38100" dir="2700000" algn="tl" rotWithShape="0">
                    <a:prstClr val="black">
                      <a:alpha val="40000"/>
                    </a:prstClr>
                  </a:outerShdw>
                </a:effectLst>
              </a:tblPr>
              <a:tblGrid>
                <a:gridCol w="2503078">
                  <a:extLst>
                    <a:ext uri="{9D8B030D-6E8A-4147-A177-3AD203B41FA5}">
                      <a16:colId xmlns:a16="http://schemas.microsoft.com/office/drawing/2014/main" val="20002"/>
                    </a:ext>
                  </a:extLst>
                </a:gridCol>
              </a:tblGrid>
              <a:tr h="731520">
                <a:tc>
                  <a:txBody>
                    <a:bodyPr/>
                    <a:lstStyle/>
                    <a:p>
                      <a:pPr marL="0" marR="0" lvl="0" indent="0" algn="ctr" defTabSz="914400" rtl="0" eaLnBrk="0" fontAlgn="base" latinLnBrk="0" hangingPunct="0">
                        <a:lnSpc>
                          <a:spcPct val="100000"/>
                        </a:lnSpc>
                        <a:spcBef>
                          <a:spcPct val="0"/>
                        </a:spcBef>
                        <a:spcAft>
                          <a:spcPct val="30000"/>
                        </a:spcAft>
                        <a:buClrTx/>
                        <a:buSzTx/>
                        <a:buFontTx/>
                        <a:buNone/>
                        <a:tabLst/>
                      </a:pPr>
                      <a:r>
                        <a:rPr kumimoji="0" lang="en-GB" sz="1800" b="1" i="0" u="none" strike="noStrike" kern="1200" cap="none" normalizeH="0" baseline="0" dirty="0">
                          <a:ln>
                            <a:noFill/>
                          </a:ln>
                          <a:solidFill>
                            <a:schemeClr val="bg1"/>
                          </a:solidFill>
                          <a:effectLst/>
                          <a:latin typeface="+mn-lt"/>
                          <a:ea typeface="+mn-ea"/>
                          <a:cs typeface="Arial"/>
                        </a:rPr>
                        <a:t>Benefits</a:t>
                      </a:r>
                    </a:p>
                  </a:txBody>
                  <a:tcPr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18" name="Group 111">
            <a:extLst>
              <a:ext uri="{FF2B5EF4-FFF2-40B4-BE49-F238E27FC236}">
                <a16:creationId xmlns:a16="http://schemas.microsoft.com/office/drawing/2014/main" id="{E742F35E-EF82-6C56-C751-5E0640042804}"/>
              </a:ext>
            </a:extLst>
          </p:cNvPr>
          <p:cNvGraphicFramePr>
            <a:graphicFrameLocks noGrp="1"/>
          </p:cNvGraphicFramePr>
          <p:nvPr/>
        </p:nvGraphicFramePr>
        <p:xfrm>
          <a:off x="3621094" y="1120372"/>
          <a:ext cx="3383280" cy="731520"/>
        </p:xfrm>
        <a:graphic>
          <a:graphicData uri="http://schemas.openxmlformats.org/drawingml/2006/table">
            <a:tbl>
              <a:tblPr>
                <a:effectLst>
                  <a:outerShdw blurRad="50800" dist="38100" dir="2700000" algn="tl" rotWithShape="0">
                    <a:prstClr val="black">
                      <a:alpha val="40000"/>
                    </a:prstClr>
                  </a:outerShdw>
                </a:effectLst>
              </a:tblPr>
              <a:tblGrid>
                <a:gridCol w="3383280">
                  <a:extLst>
                    <a:ext uri="{9D8B030D-6E8A-4147-A177-3AD203B41FA5}">
                      <a16:colId xmlns:a16="http://schemas.microsoft.com/office/drawing/2014/main" val="20000"/>
                    </a:ext>
                  </a:extLst>
                </a:gridCol>
              </a:tblGrid>
              <a:tr h="731520">
                <a:tc>
                  <a:txBody>
                    <a:bodyPr/>
                    <a:lstStyle/>
                    <a:p>
                      <a:pPr marL="0" marR="0" lvl="0" indent="0" algn="ctr" defTabSz="914400" rtl="0" eaLnBrk="0" fontAlgn="base" latinLnBrk="0" hangingPunct="0">
                        <a:lnSpc>
                          <a:spcPct val="100000"/>
                        </a:lnSpc>
                        <a:spcBef>
                          <a:spcPct val="0"/>
                        </a:spcBef>
                        <a:spcAft>
                          <a:spcPct val="30000"/>
                        </a:spcAft>
                        <a:buClrTx/>
                        <a:buSzTx/>
                        <a:buFontTx/>
                        <a:buNone/>
                        <a:tabLst/>
                      </a:pPr>
                      <a:r>
                        <a:rPr kumimoji="0" lang="en-GB" sz="1800" b="1" i="0" u="none" strike="noStrike" cap="none" normalizeH="0" baseline="0" dirty="0">
                          <a:ln>
                            <a:noFill/>
                          </a:ln>
                          <a:solidFill>
                            <a:schemeClr val="bg1"/>
                          </a:solidFill>
                          <a:effectLst/>
                          <a:latin typeface="+mn-lt"/>
                          <a:cs typeface="Arial"/>
                        </a:rPr>
                        <a:t>Business Case</a:t>
                      </a:r>
                    </a:p>
                  </a:txBody>
                  <a:tcPr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bl>
          </a:graphicData>
        </a:graphic>
      </p:graphicFrame>
      <p:sp>
        <p:nvSpPr>
          <p:cNvPr id="21" name="Title 1">
            <a:extLst>
              <a:ext uri="{FF2B5EF4-FFF2-40B4-BE49-F238E27FC236}">
                <a16:creationId xmlns:a16="http://schemas.microsoft.com/office/drawing/2014/main" id="{EF751EEA-0EC6-C874-8603-6303AD559E38}"/>
              </a:ext>
            </a:extLst>
          </p:cNvPr>
          <p:cNvSpPr>
            <a:spLocks noGrp="1"/>
          </p:cNvSpPr>
          <p:nvPr>
            <p:ph type="title"/>
          </p:nvPr>
        </p:nvSpPr>
        <p:spPr>
          <a:xfrm>
            <a:off x="123353" y="602636"/>
            <a:ext cx="11668152" cy="317255"/>
          </a:xfrm>
        </p:spPr>
        <p:txBody>
          <a:bodyPr vert="horz"/>
          <a:lstStyle/>
          <a:p>
            <a:r>
              <a:rPr lang="en-GB" dirty="0"/>
              <a:t>Initiative Title: </a:t>
            </a:r>
            <a:r>
              <a:rPr lang="en-GB" dirty="0">
                <a:solidFill>
                  <a:srgbClr val="C00000"/>
                </a:solidFill>
              </a:rPr>
              <a:t>Eliminating Demurrage in SPDC Terminals</a:t>
            </a:r>
            <a:endParaRPr lang="en-US" sz="3200" dirty="0">
              <a:latin typeface="Futura Bold" panose="00000900000000000000" pitchFamily="2" charset="0"/>
            </a:endParaRPr>
          </a:p>
        </p:txBody>
      </p:sp>
      <p:sp>
        <p:nvSpPr>
          <p:cNvPr id="27" name="Arrow: Up 26">
            <a:extLst>
              <a:ext uri="{FF2B5EF4-FFF2-40B4-BE49-F238E27FC236}">
                <a16:creationId xmlns:a16="http://schemas.microsoft.com/office/drawing/2014/main" id="{7F57073F-0C57-A91C-B5C1-B00584456675}"/>
              </a:ext>
            </a:extLst>
          </p:cNvPr>
          <p:cNvSpPr/>
          <p:nvPr/>
        </p:nvSpPr>
        <p:spPr>
          <a:xfrm>
            <a:off x="538941" y="1802861"/>
            <a:ext cx="172015" cy="828000"/>
          </a:xfrm>
          <a:prstGeom prst="upArrow">
            <a:avLst/>
          </a:prstGeom>
          <a:solidFill>
            <a:srgbClr val="FBCE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3" name="Picture 2">
            <a:extLst>
              <a:ext uri="{FF2B5EF4-FFF2-40B4-BE49-F238E27FC236}">
                <a16:creationId xmlns:a16="http://schemas.microsoft.com/office/drawing/2014/main" id="{E19DF511-9A7E-2A9F-092B-AA5821B0A908}"/>
              </a:ext>
            </a:extLst>
          </p:cNvPr>
          <p:cNvPicPr>
            <a:picLocks noChangeAspect="1"/>
          </p:cNvPicPr>
          <p:nvPr/>
        </p:nvPicPr>
        <p:blipFill>
          <a:blip r:embed="rId5"/>
          <a:stretch>
            <a:fillRect/>
          </a:stretch>
        </p:blipFill>
        <p:spPr>
          <a:xfrm>
            <a:off x="141952" y="4054647"/>
            <a:ext cx="3301272" cy="2176970"/>
          </a:xfrm>
          <a:prstGeom prst="rect">
            <a:avLst/>
          </a:prstGeom>
        </p:spPr>
      </p:pic>
    </p:spTree>
    <p:extLst>
      <p:ext uri="{BB962C8B-B14F-4D97-AF65-F5344CB8AC3E}">
        <p14:creationId xmlns:p14="http://schemas.microsoft.com/office/powerpoint/2010/main" val="343428137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3CC1851-B24B-4FB1-3A6B-229CEF3DA0F5}"/>
              </a:ext>
            </a:extLst>
          </p:cNvPr>
          <p:cNvSpPr>
            <a:spLocks noGrp="1"/>
          </p:cNvSpPr>
          <p:nvPr>
            <p:ph type="title"/>
          </p:nvPr>
        </p:nvSpPr>
        <p:spPr>
          <a:xfrm>
            <a:off x="212725" y="712800"/>
            <a:ext cx="11171238" cy="420675"/>
          </a:xfrm>
        </p:spPr>
        <p:txBody>
          <a:bodyPr/>
          <a:lstStyle/>
          <a:p>
            <a:r>
              <a:rPr lang="en-GB" dirty="0"/>
              <a:t>Initiative Team</a:t>
            </a:r>
          </a:p>
        </p:txBody>
      </p:sp>
      <p:graphicFrame>
        <p:nvGraphicFramePr>
          <p:cNvPr id="9" name="Table 9">
            <a:extLst>
              <a:ext uri="{FF2B5EF4-FFF2-40B4-BE49-F238E27FC236}">
                <a16:creationId xmlns:a16="http://schemas.microsoft.com/office/drawing/2014/main" id="{B5C96A51-6257-32FD-B86B-6F11E497B4AD}"/>
              </a:ext>
            </a:extLst>
          </p:cNvPr>
          <p:cNvGraphicFramePr>
            <a:graphicFrameLocks noGrp="1"/>
          </p:cNvGraphicFramePr>
          <p:nvPr>
            <p:ph sz="quarter" idx="11"/>
            <p:extLst>
              <p:ext uri="{D42A27DB-BD31-4B8C-83A1-F6EECF244321}">
                <p14:modId xmlns:p14="http://schemas.microsoft.com/office/powerpoint/2010/main" val="2386425838"/>
              </p:ext>
            </p:extLst>
          </p:nvPr>
        </p:nvGraphicFramePr>
        <p:xfrm>
          <a:off x="212725" y="1236569"/>
          <a:ext cx="4915865" cy="3230880"/>
        </p:xfrm>
        <a:graphic>
          <a:graphicData uri="http://schemas.openxmlformats.org/drawingml/2006/table">
            <a:tbl>
              <a:tblPr firstRow="1" bandRow="1">
                <a:tableStyleId>{793D81CF-94F2-401A-BA57-92F5A7B2D0C5}</a:tableStyleId>
              </a:tblPr>
              <a:tblGrid>
                <a:gridCol w="208280">
                  <a:extLst>
                    <a:ext uri="{9D8B030D-6E8A-4147-A177-3AD203B41FA5}">
                      <a16:colId xmlns:a16="http://schemas.microsoft.com/office/drawing/2014/main" val="824820266"/>
                    </a:ext>
                  </a:extLst>
                </a:gridCol>
                <a:gridCol w="1797409">
                  <a:extLst>
                    <a:ext uri="{9D8B030D-6E8A-4147-A177-3AD203B41FA5}">
                      <a16:colId xmlns:a16="http://schemas.microsoft.com/office/drawing/2014/main" val="979936356"/>
                    </a:ext>
                  </a:extLst>
                </a:gridCol>
                <a:gridCol w="2910176">
                  <a:extLst>
                    <a:ext uri="{9D8B030D-6E8A-4147-A177-3AD203B41FA5}">
                      <a16:colId xmlns:a16="http://schemas.microsoft.com/office/drawing/2014/main" val="2059929622"/>
                    </a:ext>
                  </a:extLst>
                </a:gridCol>
              </a:tblGrid>
              <a:tr h="157877">
                <a:tc>
                  <a:txBody>
                    <a:bodyPr/>
                    <a:lstStyle/>
                    <a:p>
                      <a:endParaRPr lang="en-GB" sz="1400" dirty="0">
                        <a:solidFill>
                          <a:srgbClr val="FFFFFF"/>
                        </a:solidFill>
                      </a:endParaRPr>
                    </a:p>
                  </a:txBody>
                  <a:tcPr/>
                </a:tc>
                <a:tc>
                  <a:txBody>
                    <a:bodyPr/>
                    <a:lstStyle/>
                    <a:p>
                      <a:r>
                        <a:rPr lang="en-GB" sz="1400" dirty="0">
                          <a:solidFill>
                            <a:srgbClr val="FFFFFF"/>
                          </a:solidFill>
                        </a:rPr>
                        <a:t>Team</a:t>
                      </a:r>
                    </a:p>
                  </a:txBody>
                  <a:tcPr/>
                </a:tc>
                <a:tc>
                  <a:txBody>
                    <a:bodyPr/>
                    <a:lstStyle/>
                    <a:p>
                      <a:endParaRPr lang="en-GB" sz="1400" dirty="0">
                        <a:solidFill>
                          <a:srgbClr val="FFFFFF"/>
                        </a:solidFill>
                      </a:endParaRPr>
                    </a:p>
                  </a:txBody>
                  <a:tcPr/>
                </a:tc>
                <a:extLst>
                  <a:ext uri="{0D108BD9-81ED-4DB2-BD59-A6C34878D82A}">
                    <a16:rowId xmlns:a16="http://schemas.microsoft.com/office/drawing/2014/main" val="2793874356"/>
                  </a:ext>
                </a:extLst>
              </a:tr>
              <a:tr h="178927">
                <a:tc>
                  <a:txBody>
                    <a:bodyPr/>
                    <a:lstStyle/>
                    <a:p>
                      <a:endParaRPr lang="en-GB" sz="1200" dirty="0"/>
                    </a:p>
                  </a:txBody>
                  <a:tcPr/>
                </a:tc>
                <a:tc>
                  <a:txBody>
                    <a:bodyPr/>
                    <a:lstStyle/>
                    <a:p>
                      <a:r>
                        <a:rPr lang="en-GB" sz="1200" dirty="0"/>
                        <a:t>Terminals</a:t>
                      </a:r>
                    </a:p>
                  </a:txBody>
                  <a:tcPr/>
                </a:tc>
                <a:tc>
                  <a:txBody>
                    <a:bodyPr/>
                    <a:lstStyle/>
                    <a:p>
                      <a:r>
                        <a:rPr lang="en-GB" sz="1200" dirty="0"/>
                        <a:t>Arthur O. / Anny A. (Lead)</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t>Osita N./Florence O.</a:t>
                      </a:r>
                    </a:p>
                    <a:p>
                      <a:r>
                        <a:rPr lang="en-GB" sz="1200" dirty="0"/>
                        <a:t>Chris Ugochukwu</a:t>
                      </a:r>
                    </a:p>
                    <a:p>
                      <a:r>
                        <a:rPr lang="en-GB" sz="1200" dirty="0"/>
                        <a:t>Terminal Superintendents</a:t>
                      </a:r>
                    </a:p>
                  </a:txBody>
                  <a:tcPr/>
                </a:tc>
                <a:extLst>
                  <a:ext uri="{0D108BD9-81ED-4DB2-BD59-A6C34878D82A}">
                    <a16:rowId xmlns:a16="http://schemas.microsoft.com/office/drawing/2014/main" val="3572797703"/>
                  </a:ext>
                </a:extLst>
              </a:tr>
              <a:tr h="128056">
                <a:tc>
                  <a:txBody>
                    <a:bodyPr/>
                    <a:lstStyle/>
                    <a:p>
                      <a:endParaRPr lang="en-GB" sz="1200" dirty="0"/>
                    </a:p>
                  </a:txBody>
                  <a:tcPr/>
                </a:tc>
                <a:tc>
                  <a:txBody>
                    <a:bodyPr/>
                    <a:lstStyle/>
                    <a:p>
                      <a:r>
                        <a:rPr lang="en-GB" sz="1200" dirty="0"/>
                        <a:t>Terminal Marine Ops</a:t>
                      </a:r>
                    </a:p>
                  </a:txBody>
                  <a:tcPr/>
                </a:tc>
                <a:tc>
                  <a:txBody>
                    <a:bodyPr/>
                    <a:lstStyle/>
                    <a:p>
                      <a:r>
                        <a:rPr lang="en-GB" sz="1200" dirty="0"/>
                        <a:t>Edidiong A./Adetunji S.</a:t>
                      </a:r>
                    </a:p>
                    <a:p>
                      <a:r>
                        <a:rPr lang="en-GB" sz="1200" dirty="0"/>
                        <a:t>Aliyu M./Jerome U.</a:t>
                      </a:r>
                    </a:p>
                  </a:txBody>
                  <a:tcPr/>
                </a:tc>
                <a:extLst>
                  <a:ext uri="{0D108BD9-81ED-4DB2-BD59-A6C34878D82A}">
                    <a16:rowId xmlns:a16="http://schemas.microsoft.com/office/drawing/2014/main" val="256160837"/>
                  </a:ext>
                </a:extLst>
              </a:tr>
              <a:tr h="128056">
                <a:tc>
                  <a:txBody>
                    <a:bodyPr/>
                    <a:lstStyle/>
                    <a:p>
                      <a:endParaRPr lang="en-GB" sz="1200" dirty="0"/>
                    </a:p>
                  </a:txBody>
                  <a:tcPr/>
                </a:tc>
                <a:tc>
                  <a:txBody>
                    <a:bodyPr/>
                    <a:lstStyle/>
                    <a:p>
                      <a:r>
                        <a:rPr lang="en-GB" sz="1200" dirty="0"/>
                        <a:t>Shipping &amp; Export</a:t>
                      </a:r>
                    </a:p>
                  </a:txBody>
                  <a:tcPr/>
                </a:tc>
                <a:tc>
                  <a:txBody>
                    <a:bodyPr/>
                    <a:lstStyle/>
                    <a:p>
                      <a:r>
                        <a:rPr lang="en-GB" sz="1200" dirty="0"/>
                        <a:t>Michael D’Souza</a:t>
                      </a:r>
                    </a:p>
                    <a:p>
                      <a:r>
                        <a:rPr lang="en-GB" sz="1200" dirty="0"/>
                        <a:t>Kevwe </a:t>
                      </a:r>
                      <a:r>
                        <a:rPr lang="en-GB" sz="1200" dirty="0" err="1"/>
                        <a:t>Ofovwe</a:t>
                      </a:r>
                      <a:endParaRPr lang="en-GB" sz="1200" dirty="0"/>
                    </a:p>
                    <a:p>
                      <a:r>
                        <a:rPr lang="en-GB" sz="1200" dirty="0"/>
                        <a:t>Ben Nzeh</a:t>
                      </a:r>
                    </a:p>
                  </a:txBody>
                  <a:tcPr/>
                </a:tc>
                <a:extLst>
                  <a:ext uri="{0D108BD9-81ED-4DB2-BD59-A6C34878D82A}">
                    <a16:rowId xmlns:a16="http://schemas.microsoft.com/office/drawing/2014/main" val="2158112009"/>
                  </a:ext>
                </a:extLst>
              </a:tr>
              <a:tr h="252603">
                <a:tc>
                  <a:txBody>
                    <a:bodyPr/>
                    <a:lstStyle/>
                    <a:p>
                      <a:endParaRPr lang="en-GB" sz="1200" dirty="0"/>
                    </a:p>
                  </a:txBody>
                  <a:tcPr/>
                </a:tc>
                <a:tc>
                  <a:txBody>
                    <a:bodyPr/>
                    <a:lstStyle/>
                    <a:p>
                      <a:r>
                        <a:rPr lang="en-GB" sz="1200" dirty="0"/>
                        <a:t>Terminal Marine Ops</a:t>
                      </a:r>
                    </a:p>
                  </a:txBody>
                  <a:tcPr/>
                </a:tc>
                <a:tc>
                  <a:txBody>
                    <a:bodyPr/>
                    <a:lstStyle/>
                    <a:p>
                      <a:r>
                        <a:rPr lang="en-GB" sz="1200" dirty="0"/>
                        <a:t>Edidiong A./Adetunji S.</a:t>
                      </a:r>
                    </a:p>
                  </a:txBody>
                  <a:tcPr/>
                </a:tc>
                <a:extLst>
                  <a:ext uri="{0D108BD9-81ED-4DB2-BD59-A6C34878D82A}">
                    <a16:rowId xmlns:a16="http://schemas.microsoft.com/office/drawing/2014/main" val="322856745"/>
                  </a:ext>
                </a:extLst>
              </a:tr>
              <a:tr h="128056">
                <a:tc>
                  <a:txBody>
                    <a:bodyPr/>
                    <a:lstStyle/>
                    <a:p>
                      <a:endParaRPr lang="en-GB" sz="1200" dirty="0"/>
                    </a:p>
                  </a:txBody>
                  <a:tcPr/>
                </a:tc>
                <a:tc>
                  <a:txBody>
                    <a:bodyPr/>
                    <a:lstStyle/>
                    <a:p>
                      <a:r>
                        <a:rPr lang="en-GB" sz="1200" dirty="0"/>
                        <a:t>Finance</a:t>
                      </a:r>
                    </a:p>
                  </a:txBody>
                  <a:tcPr/>
                </a:tc>
                <a:tc>
                  <a:txBody>
                    <a:bodyPr/>
                    <a:lstStyle/>
                    <a:p>
                      <a:r>
                        <a:rPr lang="en-GB" sz="1200" dirty="0"/>
                        <a:t>Priscillia Uwagboe/ Seun Ajayi</a:t>
                      </a:r>
                    </a:p>
                  </a:txBody>
                  <a:tcPr/>
                </a:tc>
                <a:extLst>
                  <a:ext uri="{0D108BD9-81ED-4DB2-BD59-A6C34878D82A}">
                    <a16:rowId xmlns:a16="http://schemas.microsoft.com/office/drawing/2014/main" val="3483097133"/>
                  </a:ext>
                </a:extLst>
              </a:tr>
              <a:tr h="178927">
                <a:tc>
                  <a:txBody>
                    <a:bodyPr/>
                    <a:lstStyle/>
                    <a:p>
                      <a:endParaRPr lang="en-GB" sz="1200"/>
                    </a:p>
                  </a:txBody>
                  <a:tcPr/>
                </a:tc>
                <a:tc>
                  <a:txBody>
                    <a:bodyPr/>
                    <a:lstStyle/>
                    <a:p>
                      <a:r>
                        <a:rPr lang="en-GB" sz="1200" dirty="0"/>
                        <a:t>Transformation</a:t>
                      </a:r>
                    </a:p>
                  </a:txBody>
                  <a:tcPr/>
                </a:tc>
                <a:tc>
                  <a:txBody>
                    <a:bodyPr/>
                    <a:lstStyle/>
                    <a:p>
                      <a:r>
                        <a:rPr lang="en-GB" sz="1200" dirty="0"/>
                        <a:t>Alphonsus Akaka</a:t>
                      </a:r>
                    </a:p>
                    <a:p>
                      <a:r>
                        <a:rPr lang="en-GB" sz="1200" dirty="0"/>
                        <a:t>Doro Garus-Kogi</a:t>
                      </a:r>
                    </a:p>
                  </a:txBody>
                  <a:tcPr/>
                </a:tc>
                <a:extLst>
                  <a:ext uri="{0D108BD9-81ED-4DB2-BD59-A6C34878D82A}">
                    <a16:rowId xmlns:a16="http://schemas.microsoft.com/office/drawing/2014/main" val="3982048392"/>
                  </a:ext>
                </a:extLst>
              </a:tr>
            </a:tbl>
          </a:graphicData>
        </a:graphic>
      </p:graphicFrame>
      <p:sp>
        <p:nvSpPr>
          <p:cNvPr id="2" name="Date Placeholder 1"/>
          <p:cNvSpPr>
            <a:spLocks noGrp="1"/>
          </p:cNvSpPr>
          <p:nvPr>
            <p:ph type="dt" sz="half" idx="2"/>
          </p:nvPr>
        </p:nvSpPr>
        <p:spPr/>
        <p:txBody>
          <a:bodyPr/>
          <a:lstStyle/>
          <a:p>
            <a:r>
              <a:rPr lang="en-GB" noProof="1"/>
              <a:t>January 2024</a:t>
            </a:r>
          </a:p>
        </p:txBody>
      </p:sp>
      <p:sp>
        <p:nvSpPr>
          <p:cNvPr id="3" name="Slide Number Placeholder 2"/>
          <p:cNvSpPr>
            <a:spLocks noGrp="1"/>
          </p:cNvSpPr>
          <p:nvPr>
            <p:ph type="sldNum" sz="quarter" idx="4"/>
          </p:nvPr>
        </p:nvSpPr>
        <p:spPr/>
        <p:txBody>
          <a:bodyPr/>
          <a:lstStyle/>
          <a:p>
            <a:fld id="{D32BAE6A-B452-4007-8177-56DD051636F9}" type="slidenum">
              <a:rPr lang="en-GB" noProof="1" dirty="0" smtClean="0"/>
              <a:pPr/>
              <a:t>18</a:t>
            </a:fld>
            <a:endParaRPr lang="en-GB" noProof="1"/>
          </a:p>
        </p:txBody>
      </p:sp>
      <p:sp>
        <p:nvSpPr>
          <p:cNvPr id="4" name="Footer Placeholder 3"/>
          <p:cNvSpPr>
            <a:spLocks noGrp="1"/>
          </p:cNvSpPr>
          <p:nvPr>
            <p:ph type="ftr" sz="quarter" idx="3"/>
          </p:nvPr>
        </p:nvSpPr>
        <p:spPr/>
        <p:txBody>
          <a:bodyPr/>
          <a:lstStyle/>
          <a:p>
            <a:r>
              <a:rPr lang="en-GB" noProof="1"/>
              <a:t> </a:t>
            </a:r>
          </a:p>
        </p:txBody>
      </p:sp>
      <p:graphicFrame>
        <p:nvGraphicFramePr>
          <p:cNvPr id="10" name="Table 9">
            <a:extLst>
              <a:ext uri="{FF2B5EF4-FFF2-40B4-BE49-F238E27FC236}">
                <a16:creationId xmlns:a16="http://schemas.microsoft.com/office/drawing/2014/main" id="{6AA6A920-7425-74E6-069F-3003AAA152BA}"/>
              </a:ext>
            </a:extLst>
          </p:cNvPr>
          <p:cNvGraphicFramePr>
            <a:graphicFrameLocks/>
          </p:cNvGraphicFramePr>
          <p:nvPr>
            <p:extLst>
              <p:ext uri="{D42A27DB-BD31-4B8C-83A1-F6EECF244321}">
                <p14:modId xmlns:p14="http://schemas.microsoft.com/office/powerpoint/2010/main" val="2871140133"/>
              </p:ext>
            </p:extLst>
          </p:nvPr>
        </p:nvGraphicFramePr>
        <p:xfrm>
          <a:off x="5364817" y="1236569"/>
          <a:ext cx="5972538" cy="3873770"/>
        </p:xfrm>
        <a:graphic>
          <a:graphicData uri="http://schemas.openxmlformats.org/drawingml/2006/table">
            <a:tbl>
              <a:tblPr firstRow="1" bandRow="1">
                <a:tableStyleId>{793D81CF-94F2-401A-BA57-92F5A7B2D0C5}</a:tableStyleId>
              </a:tblPr>
              <a:tblGrid>
                <a:gridCol w="663893">
                  <a:extLst>
                    <a:ext uri="{9D8B030D-6E8A-4147-A177-3AD203B41FA5}">
                      <a16:colId xmlns:a16="http://schemas.microsoft.com/office/drawing/2014/main" val="979936356"/>
                    </a:ext>
                  </a:extLst>
                </a:gridCol>
                <a:gridCol w="1958500">
                  <a:extLst>
                    <a:ext uri="{9D8B030D-6E8A-4147-A177-3AD203B41FA5}">
                      <a16:colId xmlns:a16="http://schemas.microsoft.com/office/drawing/2014/main" val="2059929622"/>
                    </a:ext>
                  </a:extLst>
                </a:gridCol>
                <a:gridCol w="3350145">
                  <a:extLst>
                    <a:ext uri="{9D8B030D-6E8A-4147-A177-3AD203B41FA5}">
                      <a16:colId xmlns:a16="http://schemas.microsoft.com/office/drawing/2014/main" val="4227622757"/>
                    </a:ext>
                  </a:extLst>
                </a:gridCol>
              </a:tblGrid>
              <a:tr h="133415">
                <a:tc gridSpan="3">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dirty="0">
                          <a:solidFill>
                            <a:srgbClr val="FFFFFF"/>
                          </a:solidFill>
                        </a:rPr>
                        <a:t>Agile approach</a:t>
                      </a:r>
                    </a:p>
                  </a:txBody>
                  <a:tcPr/>
                </a:tc>
                <a:tc hMerge="1">
                  <a:txBody>
                    <a:bodyPr/>
                    <a:lstStyle/>
                    <a:p>
                      <a:endParaRPr lang="en-GB" dirty="0">
                        <a:solidFill>
                          <a:srgbClr val="FFFFFF"/>
                        </a:solidFill>
                      </a:endParaRPr>
                    </a:p>
                  </a:txBody>
                  <a:tcPr/>
                </a:tc>
                <a:tc hMerge="1">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dirty="0">
                          <a:solidFill>
                            <a:srgbClr val="FFFFFF"/>
                          </a:solidFill>
                        </a:rPr>
                        <a:t>Agile approach</a:t>
                      </a:r>
                    </a:p>
                  </a:txBody>
                  <a:tcPr/>
                </a:tc>
                <a:extLst>
                  <a:ext uri="{0D108BD9-81ED-4DB2-BD59-A6C34878D82A}">
                    <a16:rowId xmlns:a16="http://schemas.microsoft.com/office/drawing/2014/main" val="2793874356"/>
                  </a:ext>
                </a:extLst>
              </a:tr>
              <a:tr h="275725">
                <a:tc>
                  <a:txBody>
                    <a:bodyPr/>
                    <a:lstStyle/>
                    <a:p>
                      <a:r>
                        <a:rPr lang="en-GB" sz="1200" dirty="0"/>
                        <a:t>Venue</a:t>
                      </a:r>
                    </a:p>
                  </a:txBody>
                  <a:tcPr/>
                </a:tc>
                <a:tc>
                  <a:txBody>
                    <a:bodyPr/>
                    <a:lstStyle/>
                    <a:p>
                      <a:r>
                        <a:rPr lang="en-GB" sz="1200" dirty="0"/>
                        <a:t>Online – MS Teams</a:t>
                      </a:r>
                    </a:p>
                  </a:txBody>
                  <a:tcPr/>
                </a:tc>
                <a:tc>
                  <a:txBody>
                    <a:bodyPr/>
                    <a:lstStyle/>
                    <a:p>
                      <a:endParaRPr lang="en-GB" sz="1200" dirty="0"/>
                    </a:p>
                  </a:txBody>
                  <a:tcPr/>
                </a:tc>
                <a:extLst>
                  <a:ext uri="{0D108BD9-81ED-4DB2-BD59-A6C34878D82A}">
                    <a16:rowId xmlns:a16="http://schemas.microsoft.com/office/drawing/2014/main" val="3981067621"/>
                  </a:ext>
                </a:extLst>
              </a:tr>
              <a:tr h="275725">
                <a:tc rowSpan="4">
                  <a:txBody>
                    <a:bodyPr/>
                    <a:lstStyle/>
                    <a:p>
                      <a:pPr algn="ctr"/>
                      <a:r>
                        <a:rPr lang="en-GB" sz="1200" dirty="0"/>
                        <a:t>Ceremonies</a:t>
                      </a:r>
                    </a:p>
                  </a:txBody>
                  <a:tcPr vert="vert270"/>
                </a:tc>
                <a:tc>
                  <a:txBody>
                    <a:bodyPr/>
                    <a:lstStyle/>
                    <a:p>
                      <a:r>
                        <a:rPr lang="en-GB" sz="1200" dirty="0"/>
                        <a:t>Daily huddle – 10mins</a:t>
                      </a:r>
                    </a:p>
                  </a:txBody>
                  <a:tcPr/>
                </a:tc>
                <a:tc>
                  <a:txBody>
                    <a:bodyPr/>
                    <a:lstStyle/>
                    <a:p>
                      <a:pPr marL="0" indent="0">
                        <a:buFont typeface="Arial" panose="020B0604020202020204" pitchFamily="34" charset="0"/>
                        <a:buNone/>
                      </a:pPr>
                      <a:r>
                        <a:rPr lang="en-GB" sz="1200" dirty="0"/>
                        <a:t>YTT - Task level planning/commitment</a:t>
                      </a:r>
                    </a:p>
                  </a:txBody>
                  <a:tcPr/>
                </a:tc>
                <a:extLst>
                  <a:ext uri="{0D108BD9-81ED-4DB2-BD59-A6C34878D82A}">
                    <a16:rowId xmlns:a16="http://schemas.microsoft.com/office/drawing/2014/main" val="2062643108"/>
                  </a:ext>
                </a:extLst>
              </a:tr>
              <a:tr h="275725">
                <a:tc vMerge="1">
                  <a:txBody>
                    <a:bodyPr/>
                    <a:lstStyle/>
                    <a:p>
                      <a:r>
                        <a:rPr lang="en-GB" sz="1400" dirty="0"/>
                        <a:t>Ceremonies</a:t>
                      </a:r>
                    </a:p>
                  </a:txBody>
                  <a:tcPr/>
                </a:tc>
                <a:tc>
                  <a:txBody>
                    <a:bodyPr/>
                    <a:lstStyle/>
                    <a:p>
                      <a:r>
                        <a:rPr lang="en-GB" sz="1200" dirty="0"/>
                        <a:t>Focus sessions– </a:t>
                      </a:r>
                      <a:r>
                        <a:rPr lang="en-GB" sz="1200" dirty="0">
                          <a:highlight>
                            <a:srgbClr val="FFFF00"/>
                          </a:highlight>
                        </a:rPr>
                        <a:t>120mins/week</a:t>
                      </a:r>
                    </a:p>
                  </a:txBody>
                  <a:tcPr/>
                </a:tc>
                <a:tc>
                  <a:txBody>
                    <a:bodyPr/>
                    <a:lstStyle/>
                    <a:p>
                      <a:pPr marL="285750" indent="-285750">
                        <a:buFont typeface="Arial" panose="020B0604020202020204" pitchFamily="34" charset="0"/>
                        <a:buChar char="•"/>
                      </a:pPr>
                      <a:r>
                        <a:rPr lang="en-GB" sz="1200" dirty="0"/>
                        <a:t>Frame the specific scope</a:t>
                      </a:r>
                    </a:p>
                    <a:p>
                      <a:pPr marL="285750" indent="-285750">
                        <a:buFont typeface="Arial" panose="020B0604020202020204" pitchFamily="34" charset="0"/>
                        <a:buChar char="•"/>
                      </a:pPr>
                      <a:r>
                        <a:rPr lang="en-GB" sz="1200" dirty="0"/>
                        <a:t>Data gathering – review of previous work and inflight improvement actions</a:t>
                      </a:r>
                    </a:p>
                    <a:p>
                      <a:pPr marL="285750" indent="-285750">
                        <a:buFont typeface="Arial" panose="020B0604020202020204" pitchFamily="34" charset="0"/>
                        <a:buChar char="•"/>
                      </a:pPr>
                      <a:r>
                        <a:rPr lang="en-GB" sz="1200" dirty="0"/>
                        <a:t>Root Cause analysis</a:t>
                      </a:r>
                    </a:p>
                    <a:p>
                      <a:pPr marL="285750" indent="-285750">
                        <a:buFont typeface="Arial" panose="020B0604020202020204" pitchFamily="34" charset="0"/>
                        <a:buChar char="•"/>
                      </a:pPr>
                      <a:r>
                        <a:rPr lang="en-GB" sz="1200" dirty="0"/>
                        <a:t>Solution planning</a:t>
                      </a:r>
                    </a:p>
                    <a:p>
                      <a:pPr marL="285750" indent="-285750">
                        <a:buFont typeface="Arial" panose="020B0604020202020204" pitchFamily="34" charset="0"/>
                        <a:buChar char="•"/>
                      </a:pPr>
                      <a:r>
                        <a:rPr lang="en-GB" sz="1200" dirty="0"/>
                        <a:t>Develop implementation plan(s)</a:t>
                      </a:r>
                    </a:p>
                  </a:txBody>
                  <a:tcPr/>
                </a:tc>
                <a:extLst>
                  <a:ext uri="{0D108BD9-81ED-4DB2-BD59-A6C34878D82A}">
                    <a16:rowId xmlns:a16="http://schemas.microsoft.com/office/drawing/2014/main" val="3572797703"/>
                  </a:ext>
                </a:extLst>
              </a:tr>
              <a:tr h="0">
                <a:tc vMerge="1">
                  <a:txBody>
                    <a:bodyPr/>
                    <a:lstStyle/>
                    <a:p>
                      <a:endParaRPr lang="en-GB" sz="1400" dirty="0"/>
                    </a:p>
                  </a:txBody>
                  <a:tcPr/>
                </a:tc>
                <a:tc>
                  <a:txBody>
                    <a:bodyPr/>
                    <a:lstStyle/>
                    <a:p>
                      <a:r>
                        <a:rPr lang="en-GB" sz="1200" dirty="0"/>
                        <a:t>Sprint review – 30mins</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highlight>
                            <a:srgbClr val="FFFF00"/>
                          </a:highlight>
                        </a:rPr>
                        <a:t>Integrate with West Asset weekly cadence</a:t>
                      </a:r>
                    </a:p>
                  </a:txBody>
                  <a:tcPr/>
                </a:tc>
                <a:tc>
                  <a:txBody>
                    <a:bodyPr/>
                    <a:lstStyle/>
                    <a:p>
                      <a:pPr marL="285750" indent="-285750">
                        <a:buFont typeface="Arial" panose="020B0604020202020204" pitchFamily="34" charset="0"/>
                        <a:buChar char="•"/>
                      </a:pPr>
                      <a:r>
                        <a:rPr lang="en-GB" sz="1200" dirty="0"/>
                        <a:t>Share progress of deliverables with Sponsor</a:t>
                      </a:r>
                    </a:p>
                    <a:p>
                      <a:pPr marL="285750" indent="-285750">
                        <a:buFont typeface="Arial" panose="020B0604020202020204" pitchFamily="34" charset="0"/>
                        <a:buChar char="•"/>
                      </a:pPr>
                      <a:r>
                        <a:rPr lang="en-GB" sz="1200" dirty="0"/>
                        <a:t>Get feedback/direction</a:t>
                      </a:r>
                    </a:p>
                    <a:p>
                      <a:pPr marL="285750" indent="-285750">
                        <a:buFont typeface="Arial" panose="020B0604020202020204" pitchFamily="34" charset="0"/>
                        <a:buChar char="•"/>
                      </a:pPr>
                      <a:r>
                        <a:rPr lang="en-GB" sz="1200" dirty="0"/>
                        <a:t>Discuss any impediments</a:t>
                      </a:r>
                    </a:p>
                  </a:txBody>
                  <a:tcPr/>
                </a:tc>
                <a:extLst>
                  <a:ext uri="{0D108BD9-81ED-4DB2-BD59-A6C34878D82A}">
                    <a16:rowId xmlns:a16="http://schemas.microsoft.com/office/drawing/2014/main" val="256160837"/>
                  </a:ext>
                </a:extLst>
              </a:tr>
              <a:tr h="400245">
                <a:tc vMerge="1">
                  <a:txBody>
                    <a:bodyPr/>
                    <a:lstStyle/>
                    <a:p>
                      <a:endParaRPr lang="en-GB" sz="1400" dirty="0"/>
                    </a:p>
                  </a:txBody>
                  <a:tcPr/>
                </a:tc>
                <a:tc>
                  <a:txBody>
                    <a:bodyPr/>
                    <a:lstStyle/>
                    <a:p>
                      <a:pPr marL="0" indent="0">
                        <a:buFont typeface="Arial" panose="020B0604020202020204" pitchFamily="34" charset="0"/>
                        <a:buNone/>
                      </a:pPr>
                      <a:r>
                        <a:rPr lang="en-GB" sz="1200" dirty="0"/>
                        <a:t>Sprint retrospective – 10mins</a:t>
                      </a:r>
                    </a:p>
                    <a:p>
                      <a:pPr marL="0" indent="0">
                        <a:buFont typeface="Arial" panose="020B0604020202020204" pitchFamily="34" charset="0"/>
                        <a:buNone/>
                      </a:pPr>
                      <a:r>
                        <a:rPr lang="en-US" sz="1200" dirty="0">
                          <a:highlight>
                            <a:srgbClr val="FFFF00"/>
                          </a:highlight>
                        </a:rPr>
                        <a:t>Integrate with daily huddle after weekly sprint review</a:t>
                      </a:r>
                      <a:endParaRPr lang="en-GB" sz="1200" dirty="0">
                        <a:highlight>
                          <a:srgbClr val="FFFF00"/>
                        </a:highlight>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A space for the team to reflect collectivel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t>How did we show up?</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t>Did we deliver on commitments? etc</a:t>
                      </a:r>
                    </a:p>
                  </a:txBody>
                  <a:tcPr/>
                </a:tc>
                <a:extLst>
                  <a:ext uri="{0D108BD9-81ED-4DB2-BD59-A6C34878D82A}">
                    <a16:rowId xmlns:a16="http://schemas.microsoft.com/office/drawing/2014/main" val="2158112009"/>
                  </a:ext>
                </a:extLst>
              </a:tr>
            </a:tbl>
          </a:graphicData>
        </a:graphic>
      </p:graphicFrame>
    </p:spTree>
    <p:extLst>
      <p:ext uri="{BB962C8B-B14F-4D97-AF65-F5344CB8AC3E}">
        <p14:creationId xmlns:p14="http://schemas.microsoft.com/office/powerpoint/2010/main" val="298912720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9"/>
          <p:cNvPicPr>
            <a:picLocks noChangeAspect="1"/>
          </p:cNvPicPr>
          <p:nvPr/>
        </p:nvPicPr>
        <p:blipFill>
          <a:blip r:embed="rId3">
            <a:extLst>
              <a:ext uri="{28A0092B-C50C-407E-A947-70E740481C1C}">
                <a14:useLocalDpi xmlns:a14="http://schemas.microsoft.com/office/drawing/2010/main" val="0"/>
              </a:ext>
            </a:extLst>
          </a:blip>
          <a:srcRect t="76" b="76"/>
          <a:stretch>
            <a:fillRect/>
          </a:stretch>
        </p:blipFill>
        <p:spPr>
          <a:xfrm>
            <a:off x="0" y="0"/>
            <a:ext cx="12194723" cy="6857999"/>
          </a:xfrm>
          <a:prstGeom prst="rect">
            <a:avLst/>
          </a:prstGeom>
          <a:solidFill>
            <a:schemeClr val="bg1">
              <a:alpha val="55000"/>
            </a:schemeClr>
          </a:solidFill>
        </p:spPr>
      </p:pic>
      <p:grpSp>
        <p:nvGrpSpPr>
          <p:cNvPr id="38" name="Group 37"/>
          <p:cNvGrpSpPr/>
          <p:nvPr/>
        </p:nvGrpSpPr>
        <p:grpSpPr bwMode="gray">
          <a:xfrm>
            <a:off x="-6201" y="0"/>
            <a:ext cx="12200924" cy="6864891"/>
            <a:chOff x="-6201" y="0"/>
            <a:chExt cx="12200924" cy="6864891"/>
          </a:xfrm>
        </p:grpSpPr>
        <p:sp>
          <p:nvSpPr>
            <p:cNvPr id="9" name="Rectangle 8">
              <a:extLst>
                <a:ext uri="{FF2B5EF4-FFF2-40B4-BE49-F238E27FC236}">
                  <a16:creationId xmlns:a16="http://schemas.microsoft.com/office/drawing/2014/main" id="{8AD1E9EF-CEAC-15F3-9E5D-7DEB35DC483A}"/>
                </a:ext>
              </a:extLst>
            </p:cNvPr>
            <p:cNvSpPr/>
            <p:nvPr/>
          </p:nvSpPr>
          <p:spPr bwMode="gray">
            <a:xfrm>
              <a:off x="0" y="0"/>
              <a:ext cx="12194723" cy="6864891"/>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descr="&lt;Shell Yellow Bar&gt;" title="&lt;Shell Yellow Bar&gt;"/>
            <p:cNvSpPr/>
            <p:nvPr/>
          </p:nvSpPr>
          <p:spPr bwMode="gray">
            <a:xfrm>
              <a:off x="-6201" y="508000"/>
              <a:ext cx="1269984" cy="38100"/>
            </a:xfrm>
            <a:prstGeom prst="rect">
              <a:avLst/>
            </a:prstGeom>
            <a:solidFill>
              <a:srgbClr val="FFC60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2" name="Title 1"/>
          <p:cNvSpPr>
            <a:spLocks noGrp="1"/>
          </p:cNvSpPr>
          <p:nvPr>
            <p:ph type="title"/>
          </p:nvPr>
        </p:nvSpPr>
        <p:spPr/>
        <p:txBody>
          <a:bodyPr/>
          <a:lstStyle/>
          <a:p>
            <a:r>
              <a:rPr lang="en-GB" dirty="0"/>
              <a:t>Agenda</a:t>
            </a:r>
          </a:p>
        </p:txBody>
      </p:sp>
      <p:sp>
        <p:nvSpPr>
          <p:cNvPr id="4" name="Date Placeholder 3"/>
          <p:cNvSpPr>
            <a:spLocks noGrp="1"/>
          </p:cNvSpPr>
          <p:nvPr>
            <p:ph type="dt" sz="half" idx="2"/>
          </p:nvPr>
        </p:nvSpPr>
        <p:spPr/>
        <p:txBody>
          <a:bodyPr/>
          <a:lstStyle/>
          <a:p>
            <a:r>
              <a:rPr lang="en-GB" noProof="1"/>
              <a:t>January 2024</a:t>
            </a:r>
          </a:p>
        </p:txBody>
      </p:sp>
      <p:sp>
        <p:nvSpPr>
          <p:cNvPr id="6" name="Slide Number Placeholder 5"/>
          <p:cNvSpPr>
            <a:spLocks noGrp="1"/>
          </p:cNvSpPr>
          <p:nvPr>
            <p:ph type="sldNum" sz="quarter" idx="4"/>
          </p:nvPr>
        </p:nvSpPr>
        <p:spPr/>
        <p:txBody>
          <a:bodyPr/>
          <a:lstStyle/>
          <a:p>
            <a:fld id="{D32BAE6A-B452-4007-8177-56DD051636F9}" type="slidenum">
              <a:rPr lang="en-GB" noProof="1" dirty="0" smtClean="0"/>
              <a:pPr/>
              <a:t>2</a:t>
            </a:fld>
            <a:endParaRPr lang="en-GB" noProof="1"/>
          </a:p>
        </p:txBody>
      </p:sp>
      <p:sp>
        <p:nvSpPr>
          <p:cNvPr id="5" name="Footer Placeholder 4"/>
          <p:cNvSpPr>
            <a:spLocks noGrp="1"/>
          </p:cNvSpPr>
          <p:nvPr>
            <p:ph type="ftr" sz="quarter" idx="3"/>
          </p:nvPr>
        </p:nvSpPr>
        <p:spPr/>
        <p:txBody>
          <a:bodyPr/>
          <a:lstStyle/>
          <a:p>
            <a:r>
              <a:rPr lang="en-GB" noProof="1"/>
              <a:t> </a:t>
            </a:r>
          </a:p>
        </p:txBody>
      </p:sp>
      <p:sp>
        <p:nvSpPr>
          <p:cNvPr id="10" name="TextBox 9">
            <a:extLst>
              <a:ext uri="{FF2B5EF4-FFF2-40B4-BE49-F238E27FC236}">
                <a16:creationId xmlns:a16="http://schemas.microsoft.com/office/drawing/2014/main" id="{5BA798AD-E6D5-DEAB-664C-A57E75835E5E}"/>
              </a:ext>
            </a:extLst>
          </p:cNvPr>
          <p:cNvSpPr txBox="1"/>
          <p:nvPr/>
        </p:nvSpPr>
        <p:spPr>
          <a:xfrm>
            <a:off x="1241796" y="2095011"/>
            <a:ext cx="2444180" cy="307777"/>
          </a:xfrm>
          <a:prstGeom prst="rect">
            <a:avLst/>
          </a:prstGeom>
          <a:noFill/>
        </p:spPr>
        <p:txBody>
          <a:bodyPr wrap="square" rtlCol="0">
            <a:spAutoFit/>
          </a:bodyPr>
          <a:lstStyle/>
          <a:p>
            <a:r>
              <a:rPr lang="en-GB" sz="1400" dirty="0">
                <a:solidFill>
                  <a:srgbClr val="DD1D21"/>
                </a:solidFill>
                <a:latin typeface="ShellMedium" panose="00000600000000000000" pitchFamily="2" charset="0"/>
              </a:rPr>
              <a:t>Sponsor: Mesh M.</a:t>
            </a:r>
          </a:p>
        </p:txBody>
      </p:sp>
      <p:sp>
        <p:nvSpPr>
          <p:cNvPr id="11" name="Title 2">
            <a:extLst>
              <a:ext uri="{FF2B5EF4-FFF2-40B4-BE49-F238E27FC236}">
                <a16:creationId xmlns:a16="http://schemas.microsoft.com/office/drawing/2014/main" id="{6DE7074C-96BE-D9C4-65F7-9621A1F4DC40}"/>
              </a:ext>
            </a:extLst>
          </p:cNvPr>
          <p:cNvSpPr txBox="1">
            <a:spLocks/>
          </p:cNvSpPr>
          <p:nvPr/>
        </p:nvSpPr>
        <p:spPr>
          <a:xfrm>
            <a:off x="677600" y="1719948"/>
            <a:ext cx="819862" cy="712866"/>
          </a:xfrm>
          <a:prstGeom prst="rect">
            <a:avLst/>
          </a:prstGeom>
        </p:spPr>
        <p:txBody>
          <a:bodyPr>
            <a:norm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800" dirty="0">
                <a:solidFill>
                  <a:schemeClr val="accent2"/>
                </a:solidFill>
              </a:rPr>
              <a:t>01</a:t>
            </a:r>
          </a:p>
        </p:txBody>
      </p:sp>
      <p:sp>
        <p:nvSpPr>
          <p:cNvPr id="12" name="Title 2">
            <a:extLst>
              <a:ext uri="{FF2B5EF4-FFF2-40B4-BE49-F238E27FC236}">
                <a16:creationId xmlns:a16="http://schemas.microsoft.com/office/drawing/2014/main" id="{EB2ADB51-BEB4-022F-1F87-16E4CE50176B}"/>
              </a:ext>
            </a:extLst>
          </p:cNvPr>
          <p:cNvSpPr txBox="1">
            <a:spLocks/>
          </p:cNvSpPr>
          <p:nvPr/>
        </p:nvSpPr>
        <p:spPr>
          <a:xfrm>
            <a:off x="1241796" y="1719948"/>
            <a:ext cx="2697254" cy="375063"/>
          </a:xfrm>
          <a:prstGeom prst="rect">
            <a:avLst/>
          </a:prstGeom>
        </p:spPr>
        <p:txBody>
          <a:bodyPr>
            <a:noAutofit/>
          </a:bodyPr>
          <a:lstStyle>
            <a:defPPr>
              <a:defRPr lang="en-US"/>
            </a:defPPr>
            <a:lvl1pPr defTabSz="914400">
              <a:lnSpc>
                <a:spcPct val="90000"/>
              </a:lnSpc>
              <a:spcBef>
                <a:spcPct val="0"/>
              </a:spcBef>
              <a:buNone/>
              <a:defRPr>
                <a:latin typeface="ShellMedium" charset="0"/>
                <a:ea typeface="+mj-ea"/>
                <a:cs typeface="+mj-cs"/>
              </a:defRPr>
            </a:lvl1pPr>
          </a:lstStyle>
          <a:p>
            <a:r>
              <a:rPr lang="en-GB" dirty="0"/>
              <a:t>Opening remarks</a:t>
            </a:r>
          </a:p>
        </p:txBody>
      </p:sp>
      <p:sp>
        <p:nvSpPr>
          <p:cNvPr id="13" name="TextBox 12">
            <a:extLst>
              <a:ext uri="{FF2B5EF4-FFF2-40B4-BE49-F238E27FC236}">
                <a16:creationId xmlns:a16="http://schemas.microsoft.com/office/drawing/2014/main" id="{45795AEC-7246-99E1-3CAD-1A9BD5CF0175}"/>
              </a:ext>
            </a:extLst>
          </p:cNvPr>
          <p:cNvSpPr txBox="1"/>
          <p:nvPr/>
        </p:nvSpPr>
        <p:spPr>
          <a:xfrm>
            <a:off x="5170633" y="2095011"/>
            <a:ext cx="2444180" cy="738664"/>
          </a:xfrm>
          <a:prstGeom prst="rect">
            <a:avLst/>
          </a:prstGeom>
          <a:noFill/>
        </p:spPr>
        <p:txBody>
          <a:bodyPr wrap="square" rtlCol="0">
            <a:spAutoFit/>
          </a:bodyPr>
          <a:lstStyle/>
          <a:p>
            <a:pPr marL="0" indent="0">
              <a:buFont typeface="+mj-lt"/>
              <a:buNone/>
            </a:pPr>
            <a:r>
              <a:rPr lang="en-GB" sz="1400" dirty="0"/>
              <a:t>What we need to know about demurrage.</a:t>
            </a:r>
          </a:p>
          <a:p>
            <a:pPr marL="0" indent="0">
              <a:buFont typeface="+mj-lt"/>
              <a:buNone/>
            </a:pPr>
            <a:r>
              <a:rPr lang="en-GB" sz="1400" dirty="0">
                <a:solidFill>
                  <a:srgbClr val="DD1D21"/>
                </a:solidFill>
              </a:rPr>
              <a:t>Ben N.</a:t>
            </a:r>
          </a:p>
        </p:txBody>
      </p:sp>
      <p:sp>
        <p:nvSpPr>
          <p:cNvPr id="14" name="Title 2">
            <a:extLst>
              <a:ext uri="{FF2B5EF4-FFF2-40B4-BE49-F238E27FC236}">
                <a16:creationId xmlns:a16="http://schemas.microsoft.com/office/drawing/2014/main" id="{14BE8861-5AD1-8A4F-E1B0-59F36546954F}"/>
              </a:ext>
            </a:extLst>
          </p:cNvPr>
          <p:cNvSpPr txBox="1">
            <a:spLocks/>
          </p:cNvSpPr>
          <p:nvPr/>
        </p:nvSpPr>
        <p:spPr>
          <a:xfrm>
            <a:off x="4606437" y="1719948"/>
            <a:ext cx="819862" cy="712866"/>
          </a:xfrm>
          <a:prstGeom prst="rect">
            <a:avLst/>
          </a:prstGeom>
        </p:spPr>
        <p:txBody>
          <a:bodyPr>
            <a:norm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800" dirty="0">
                <a:solidFill>
                  <a:schemeClr val="accent2"/>
                </a:solidFill>
              </a:rPr>
              <a:t>02</a:t>
            </a:r>
          </a:p>
        </p:txBody>
      </p:sp>
      <p:sp>
        <p:nvSpPr>
          <p:cNvPr id="15" name="Title 2">
            <a:extLst>
              <a:ext uri="{FF2B5EF4-FFF2-40B4-BE49-F238E27FC236}">
                <a16:creationId xmlns:a16="http://schemas.microsoft.com/office/drawing/2014/main" id="{DABB1C29-0B01-60B6-4BAB-4EA0D1A98D62}"/>
              </a:ext>
            </a:extLst>
          </p:cNvPr>
          <p:cNvSpPr txBox="1">
            <a:spLocks/>
          </p:cNvSpPr>
          <p:nvPr/>
        </p:nvSpPr>
        <p:spPr>
          <a:xfrm>
            <a:off x="5170633" y="1719948"/>
            <a:ext cx="2697254" cy="375063"/>
          </a:xfrm>
          <a:prstGeom prst="rect">
            <a:avLst/>
          </a:prstGeom>
        </p:spPr>
        <p:txBody>
          <a:bodyPr>
            <a:no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400" dirty="0">
                <a:solidFill>
                  <a:schemeClr val="tx1"/>
                </a:solidFill>
                <a:latin typeface="ShellMedium" charset="0"/>
              </a:rPr>
              <a:t>Demurrage 101</a:t>
            </a:r>
          </a:p>
        </p:txBody>
      </p:sp>
      <p:sp>
        <p:nvSpPr>
          <p:cNvPr id="16" name="TextBox 15">
            <a:extLst>
              <a:ext uri="{FF2B5EF4-FFF2-40B4-BE49-F238E27FC236}">
                <a16:creationId xmlns:a16="http://schemas.microsoft.com/office/drawing/2014/main" id="{A5F9400A-9D6F-FF71-314B-02B420749469}"/>
              </a:ext>
            </a:extLst>
          </p:cNvPr>
          <p:cNvSpPr txBox="1"/>
          <p:nvPr/>
        </p:nvSpPr>
        <p:spPr>
          <a:xfrm>
            <a:off x="9119163" y="2095011"/>
            <a:ext cx="2444180" cy="738664"/>
          </a:xfrm>
          <a:prstGeom prst="rect">
            <a:avLst/>
          </a:prstGeom>
          <a:noFill/>
        </p:spPr>
        <p:txBody>
          <a:bodyPr wrap="square" rtlCol="0">
            <a:spAutoFit/>
          </a:bodyPr>
          <a:lstStyle/>
          <a:p>
            <a:r>
              <a:rPr lang="en-US" sz="1400" dirty="0">
                <a:solidFill>
                  <a:srgbClr val="7F7F7F"/>
                </a:solidFill>
                <a:latin typeface="ShellMedium" panose="00000600000000000000" pitchFamily="2" charset="0"/>
              </a:rPr>
              <a:t>Demurrage + Oil Loss claims 3year data/trend</a:t>
            </a:r>
          </a:p>
          <a:p>
            <a:r>
              <a:rPr lang="en-US" sz="1400" dirty="0">
                <a:solidFill>
                  <a:srgbClr val="DD1D21"/>
                </a:solidFill>
                <a:latin typeface="ShellMedium" panose="00000600000000000000" pitchFamily="2" charset="0"/>
              </a:rPr>
              <a:t>Priscillia U.</a:t>
            </a:r>
            <a:endParaRPr lang="en-GB" sz="1400" dirty="0">
              <a:solidFill>
                <a:srgbClr val="DD1D21"/>
              </a:solidFill>
              <a:latin typeface="ShellMedium" panose="00000600000000000000" pitchFamily="2" charset="0"/>
            </a:endParaRPr>
          </a:p>
        </p:txBody>
      </p:sp>
      <p:sp>
        <p:nvSpPr>
          <p:cNvPr id="17" name="Title 2">
            <a:extLst>
              <a:ext uri="{FF2B5EF4-FFF2-40B4-BE49-F238E27FC236}">
                <a16:creationId xmlns:a16="http://schemas.microsoft.com/office/drawing/2014/main" id="{874FDECA-598C-6EFE-9428-83A5C05A748D}"/>
              </a:ext>
            </a:extLst>
          </p:cNvPr>
          <p:cNvSpPr txBox="1">
            <a:spLocks/>
          </p:cNvSpPr>
          <p:nvPr/>
        </p:nvSpPr>
        <p:spPr>
          <a:xfrm>
            <a:off x="8533699" y="1719948"/>
            <a:ext cx="819862" cy="712866"/>
          </a:xfrm>
          <a:prstGeom prst="rect">
            <a:avLst/>
          </a:prstGeom>
        </p:spPr>
        <p:txBody>
          <a:bodyPr>
            <a:norm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800" dirty="0">
                <a:solidFill>
                  <a:schemeClr val="accent2"/>
                </a:solidFill>
              </a:rPr>
              <a:t>03</a:t>
            </a:r>
          </a:p>
        </p:txBody>
      </p:sp>
      <p:sp>
        <p:nvSpPr>
          <p:cNvPr id="18" name="Title 2">
            <a:extLst>
              <a:ext uri="{FF2B5EF4-FFF2-40B4-BE49-F238E27FC236}">
                <a16:creationId xmlns:a16="http://schemas.microsoft.com/office/drawing/2014/main" id="{80455EAB-48E2-0BB7-7BF1-15E1F9CEF8E1}"/>
              </a:ext>
            </a:extLst>
          </p:cNvPr>
          <p:cNvSpPr txBox="1">
            <a:spLocks/>
          </p:cNvSpPr>
          <p:nvPr/>
        </p:nvSpPr>
        <p:spPr>
          <a:xfrm>
            <a:off x="9119163" y="1756892"/>
            <a:ext cx="2697254" cy="375063"/>
          </a:xfrm>
          <a:prstGeom prst="rect">
            <a:avLst/>
          </a:prstGeom>
        </p:spPr>
        <p:txBody>
          <a:bodyPr>
            <a:no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400" dirty="0">
                <a:solidFill>
                  <a:schemeClr val="tx1"/>
                </a:solidFill>
                <a:latin typeface="ShellMedium" charset="0"/>
              </a:rPr>
              <a:t>Performance</a:t>
            </a:r>
          </a:p>
        </p:txBody>
      </p:sp>
      <p:sp>
        <p:nvSpPr>
          <p:cNvPr id="19" name="TextBox 18">
            <a:extLst>
              <a:ext uri="{FF2B5EF4-FFF2-40B4-BE49-F238E27FC236}">
                <a16:creationId xmlns:a16="http://schemas.microsoft.com/office/drawing/2014/main" id="{BAAFECF0-4A24-F69E-14E1-8B029993EFE7}"/>
              </a:ext>
            </a:extLst>
          </p:cNvPr>
          <p:cNvSpPr txBox="1"/>
          <p:nvPr/>
        </p:nvSpPr>
        <p:spPr>
          <a:xfrm>
            <a:off x="1241796" y="3602397"/>
            <a:ext cx="2444180" cy="738664"/>
          </a:xfrm>
          <a:prstGeom prst="rect">
            <a:avLst/>
          </a:prstGeom>
          <a:noFill/>
        </p:spPr>
        <p:txBody>
          <a:bodyPr wrap="square" rtlCol="0">
            <a:spAutoFit/>
          </a:bodyPr>
          <a:lstStyle/>
          <a:p>
            <a:r>
              <a:rPr lang="en-GB" sz="1400" dirty="0">
                <a:solidFill>
                  <a:srgbClr val="7F7F7F"/>
                </a:solidFill>
                <a:latin typeface="ShellMedium" panose="00000600000000000000" pitchFamily="2" charset="0"/>
              </a:rPr>
              <a:t>Review business case, objectives, benefit…</a:t>
            </a:r>
          </a:p>
          <a:p>
            <a:r>
              <a:rPr lang="en-GB" sz="1400" dirty="0">
                <a:solidFill>
                  <a:srgbClr val="DD1D21"/>
                </a:solidFill>
                <a:latin typeface="ShellMedium" panose="00000600000000000000" pitchFamily="2" charset="0"/>
              </a:rPr>
              <a:t>Doro G-K</a:t>
            </a:r>
          </a:p>
        </p:txBody>
      </p:sp>
      <p:sp>
        <p:nvSpPr>
          <p:cNvPr id="20" name="Title 2">
            <a:extLst>
              <a:ext uri="{FF2B5EF4-FFF2-40B4-BE49-F238E27FC236}">
                <a16:creationId xmlns:a16="http://schemas.microsoft.com/office/drawing/2014/main" id="{31972F65-2F12-7F14-6F98-6B6E6DD9D7A6}"/>
              </a:ext>
            </a:extLst>
          </p:cNvPr>
          <p:cNvSpPr txBox="1">
            <a:spLocks/>
          </p:cNvSpPr>
          <p:nvPr/>
        </p:nvSpPr>
        <p:spPr>
          <a:xfrm>
            <a:off x="677600" y="3227334"/>
            <a:ext cx="819862" cy="712866"/>
          </a:xfrm>
          <a:prstGeom prst="rect">
            <a:avLst/>
          </a:prstGeom>
        </p:spPr>
        <p:txBody>
          <a:bodyPr>
            <a:norm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800" dirty="0">
                <a:solidFill>
                  <a:schemeClr val="accent2"/>
                </a:solidFill>
              </a:rPr>
              <a:t>04</a:t>
            </a:r>
          </a:p>
        </p:txBody>
      </p:sp>
      <p:sp>
        <p:nvSpPr>
          <p:cNvPr id="21" name="Title 2">
            <a:extLst>
              <a:ext uri="{FF2B5EF4-FFF2-40B4-BE49-F238E27FC236}">
                <a16:creationId xmlns:a16="http://schemas.microsoft.com/office/drawing/2014/main" id="{0625129A-E664-9A7E-D401-8793FA9AAE30}"/>
              </a:ext>
            </a:extLst>
          </p:cNvPr>
          <p:cNvSpPr txBox="1">
            <a:spLocks/>
          </p:cNvSpPr>
          <p:nvPr/>
        </p:nvSpPr>
        <p:spPr>
          <a:xfrm>
            <a:off x="1241796" y="3227334"/>
            <a:ext cx="2697254" cy="375063"/>
          </a:xfrm>
          <a:prstGeom prst="rect">
            <a:avLst/>
          </a:prstGeom>
        </p:spPr>
        <p:txBody>
          <a:bodyPr>
            <a:no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400" dirty="0">
                <a:solidFill>
                  <a:schemeClr val="tx1"/>
                </a:solidFill>
                <a:latin typeface="ShellMedium" charset="0"/>
              </a:rPr>
              <a:t>Business Case</a:t>
            </a:r>
          </a:p>
        </p:txBody>
      </p:sp>
      <p:sp>
        <p:nvSpPr>
          <p:cNvPr id="22" name="TextBox 21">
            <a:extLst>
              <a:ext uri="{FF2B5EF4-FFF2-40B4-BE49-F238E27FC236}">
                <a16:creationId xmlns:a16="http://schemas.microsoft.com/office/drawing/2014/main" id="{19ECC8C6-8167-DD14-07BE-AA48A851D0C1}"/>
              </a:ext>
            </a:extLst>
          </p:cNvPr>
          <p:cNvSpPr txBox="1"/>
          <p:nvPr/>
        </p:nvSpPr>
        <p:spPr>
          <a:xfrm>
            <a:off x="5170633" y="3602397"/>
            <a:ext cx="2444180" cy="738664"/>
          </a:xfrm>
          <a:prstGeom prst="rect">
            <a:avLst/>
          </a:prstGeom>
          <a:noFill/>
        </p:spPr>
        <p:txBody>
          <a:bodyPr wrap="square" rtlCol="0">
            <a:spAutoFit/>
          </a:bodyPr>
          <a:lstStyle/>
          <a:p>
            <a:r>
              <a:rPr lang="en-US" sz="1400" dirty="0">
                <a:solidFill>
                  <a:srgbClr val="7F7F7F"/>
                </a:solidFill>
                <a:latin typeface="ShellMedium" panose="00000600000000000000" pitchFamily="2" charset="0"/>
              </a:rPr>
              <a:t>Agile approach</a:t>
            </a:r>
          </a:p>
          <a:p>
            <a:r>
              <a:rPr lang="en-US" sz="1400" dirty="0">
                <a:solidFill>
                  <a:srgbClr val="DD1D21"/>
                </a:solidFill>
                <a:latin typeface="ShellMedium" panose="00000600000000000000" pitchFamily="2" charset="0"/>
              </a:rPr>
              <a:t>Alphonsus A.</a:t>
            </a:r>
          </a:p>
          <a:p>
            <a:endParaRPr lang="en-GB" sz="1400" dirty="0">
              <a:solidFill>
                <a:srgbClr val="7F7F7F"/>
              </a:solidFill>
              <a:latin typeface="ShellMedium" panose="00000600000000000000" pitchFamily="2" charset="0"/>
            </a:endParaRPr>
          </a:p>
        </p:txBody>
      </p:sp>
      <p:sp>
        <p:nvSpPr>
          <p:cNvPr id="23" name="Title 2">
            <a:extLst>
              <a:ext uri="{FF2B5EF4-FFF2-40B4-BE49-F238E27FC236}">
                <a16:creationId xmlns:a16="http://schemas.microsoft.com/office/drawing/2014/main" id="{7693B98B-C9D7-3D69-FFCD-CE2CF41D0650}"/>
              </a:ext>
            </a:extLst>
          </p:cNvPr>
          <p:cNvSpPr txBox="1">
            <a:spLocks/>
          </p:cNvSpPr>
          <p:nvPr/>
        </p:nvSpPr>
        <p:spPr>
          <a:xfrm>
            <a:off x="4606437" y="3227334"/>
            <a:ext cx="819862" cy="712866"/>
          </a:xfrm>
          <a:prstGeom prst="rect">
            <a:avLst/>
          </a:prstGeom>
        </p:spPr>
        <p:txBody>
          <a:bodyPr>
            <a:norm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800" dirty="0">
                <a:solidFill>
                  <a:schemeClr val="accent2"/>
                </a:solidFill>
              </a:rPr>
              <a:t>05</a:t>
            </a:r>
          </a:p>
        </p:txBody>
      </p:sp>
      <p:sp>
        <p:nvSpPr>
          <p:cNvPr id="24" name="Title 2">
            <a:extLst>
              <a:ext uri="{FF2B5EF4-FFF2-40B4-BE49-F238E27FC236}">
                <a16:creationId xmlns:a16="http://schemas.microsoft.com/office/drawing/2014/main" id="{9C7C9DCE-9BB6-0271-399E-A7F249710AE5}"/>
              </a:ext>
            </a:extLst>
          </p:cNvPr>
          <p:cNvSpPr txBox="1">
            <a:spLocks/>
          </p:cNvSpPr>
          <p:nvPr/>
        </p:nvSpPr>
        <p:spPr>
          <a:xfrm>
            <a:off x="5170633" y="3227334"/>
            <a:ext cx="2697254" cy="375063"/>
          </a:xfrm>
          <a:prstGeom prst="rect">
            <a:avLst/>
          </a:prstGeom>
        </p:spPr>
        <p:txBody>
          <a:bodyPr>
            <a:no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400" dirty="0">
                <a:solidFill>
                  <a:schemeClr val="tx1"/>
                </a:solidFill>
                <a:latin typeface="ShellMedium" charset="0"/>
              </a:rPr>
              <a:t>Ways of working</a:t>
            </a:r>
          </a:p>
        </p:txBody>
      </p:sp>
      <p:sp>
        <p:nvSpPr>
          <p:cNvPr id="25" name="TextBox 24">
            <a:extLst>
              <a:ext uri="{FF2B5EF4-FFF2-40B4-BE49-F238E27FC236}">
                <a16:creationId xmlns:a16="http://schemas.microsoft.com/office/drawing/2014/main" id="{2EC57D2F-6250-4E94-0E39-60F9685B4300}"/>
              </a:ext>
            </a:extLst>
          </p:cNvPr>
          <p:cNvSpPr txBox="1"/>
          <p:nvPr/>
        </p:nvSpPr>
        <p:spPr>
          <a:xfrm>
            <a:off x="9119163" y="3621447"/>
            <a:ext cx="2444180" cy="523220"/>
          </a:xfrm>
          <a:prstGeom prst="rect">
            <a:avLst/>
          </a:prstGeom>
          <a:noFill/>
        </p:spPr>
        <p:txBody>
          <a:bodyPr wrap="square" rtlCol="0">
            <a:spAutoFit/>
          </a:bodyPr>
          <a:lstStyle/>
          <a:p>
            <a:r>
              <a:rPr lang="en-GB" sz="1400" dirty="0">
                <a:solidFill>
                  <a:srgbClr val="7F7F7F"/>
                </a:solidFill>
                <a:latin typeface="ShellMedium" panose="00000600000000000000" pitchFamily="2" charset="0"/>
              </a:rPr>
              <a:t>Charge to team</a:t>
            </a:r>
          </a:p>
          <a:p>
            <a:r>
              <a:rPr lang="en-GB" sz="1400" dirty="0">
                <a:solidFill>
                  <a:srgbClr val="DD1D21"/>
                </a:solidFill>
                <a:latin typeface="ShellMedium" panose="00000600000000000000" pitchFamily="2" charset="0"/>
              </a:rPr>
              <a:t>Arthur O./Anny A.</a:t>
            </a:r>
          </a:p>
        </p:txBody>
      </p:sp>
      <p:sp>
        <p:nvSpPr>
          <p:cNvPr id="26" name="Title 2">
            <a:extLst>
              <a:ext uri="{FF2B5EF4-FFF2-40B4-BE49-F238E27FC236}">
                <a16:creationId xmlns:a16="http://schemas.microsoft.com/office/drawing/2014/main" id="{B515091B-3931-FC6C-7BF0-6FFC1D9EE1FE}"/>
              </a:ext>
            </a:extLst>
          </p:cNvPr>
          <p:cNvSpPr txBox="1">
            <a:spLocks/>
          </p:cNvSpPr>
          <p:nvPr/>
        </p:nvSpPr>
        <p:spPr>
          <a:xfrm>
            <a:off x="8533699" y="3227334"/>
            <a:ext cx="819862" cy="712866"/>
          </a:xfrm>
          <a:prstGeom prst="rect">
            <a:avLst/>
          </a:prstGeom>
        </p:spPr>
        <p:txBody>
          <a:bodyPr>
            <a:norm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800" dirty="0">
                <a:solidFill>
                  <a:schemeClr val="accent2"/>
                </a:solidFill>
              </a:rPr>
              <a:t>06</a:t>
            </a:r>
          </a:p>
        </p:txBody>
      </p:sp>
      <p:sp>
        <p:nvSpPr>
          <p:cNvPr id="27" name="Title 2">
            <a:extLst>
              <a:ext uri="{FF2B5EF4-FFF2-40B4-BE49-F238E27FC236}">
                <a16:creationId xmlns:a16="http://schemas.microsoft.com/office/drawing/2014/main" id="{A55A8873-D69A-1514-91FF-FB985B790973}"/>
              </a:ext>
            </a:extLst>
          </p:cNvPr>
          <p:cNvSpPr txBox="1">
            <a:spLocks/>
          </p:cNvSpPr>
          <p:nvPr/>
        </p:nvSpPr>
        <p:spPr>
          <a:xfrm>
            <a:off x="9119163" y="3264278"/>
            <a:ext cx="2697254" cy="375063"/>
          </a:xfrm>
          <a:prstGeom prst="rect">
            <a:avLst/>
          </a:prstGeom>
        </p:spPr>
        <p:txBody>
          <a:bodyPr>
            <a:noAutofit/>
          </a:bodyPr>
          <a:lstStyle>
            <a:lvl1pPr algn="l" defTabSz="914400" rtl="0" eaLnBrk="1" latinLnBrk="0" hangingPunct="1">
              <a:lnSpc>
                <a:spcPct val="90000"/>
              </a:lnSpc>
              <a:spcBef>
                <a:spcPct val="0"/>
              </a:spcBef>
              <a:buNone/>
              <a:defRPr sz="4400" kern="1200">
                <a:solidFill>
                  <a:srgbClr val="595959"/>
                </a:solidFill>
                <a:latin typeface="ShellHeavy" pitchFamily="2" charset="0"/>
                <a:ea typeface="+mj-ea"/>
                <a:cs typeface="+mj-cs"/>
              </a:defRPr>
            </a:lvl1pPr>
          </a:lstStyle>
          <a:p>
            <a:r>
              <a:rPr lang="en-GB" sz="2400" dirty="0">
                <a:solidFill>
                  <a:schemeClr val="tx1"/>
                </a:solidFill>
                <a:latin typeface="ShellMedium" charset="0"/>
              </a:rPr>
              <a:t>Closing remarks</a:t>
            </a:r>
          </a:p>
        </p:txBody>
      </p:sp>
      <p:sp>
        <p:nvSpPr>
          <p:cNvPr id="39"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SPDC</a:t>
            </a:r>
          </a:p>
        </p:txBody>
      </p:sp>
    </p:spTree>
    <p:extLst>
      <p:ext uri="{BB962C8B-B14F-4D97-AF65-F5344CB8AC3E}">
        <p14:creationId xmlns:p14="http://schemas.microsoft.com/office/powerpoint/2010/main" val="221298502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Let’s talk demurrage</a:t>
            </a:r>
          </a:p>
        </p:txBody>
      </p:sp>
      <p:sp>
        <p:nvSpPr>
          <p:cNvPr id="2" name="Date Placeholder 1"/>
          <p:cNvSpPr>
            <a:spLocks noGrp="1"/>
          </p:cNvSpPr>
          <p:nvPr>
            <p:ph type="dt" sz="half" idx="2"/>
          </p:nvPr>
        </p:nvSpPr>
        <p:spPr/>
        <p:txBody>
          <a:bodyPr/>
          <a:lstStyle/>
          <a:p>
            <a:r>
              <a:rPr lang="en-GB" noProof="1"/>
              <a:t>January 2024</a:t>
            </a:r>
          </a:p>
        </p:txBody>
      </p:sp>
      <p:sp>
        <p:nvSpPr>
          <p:cNvPr id="6" name="Slide Number Placeholder 5"/>
          <p:cNvSpPr>
            <a:spLocks noGrp="1"/>
          </p:cNvSpPr>
          <p:nvPr>
            <p:ph type="sldNum" sz="quarter" idx="4"/>
          </p:nvPr>
        </p:nvSpPr>
        <p:spPr/>
        <p:txBody>
          <a:bodyPr/>
          <a:lstStyle/>
          <a:p>
            <a:fld id="{D32BAE6A-B452-4007-8177-56DD051636F9}" type="slidenum">
              <a:rPr lang="en-GB" noProof="1" smtClean="0"/>
              <a:pPr/>
              <a:t>3</a:t>
            </a:fld>
            <a:endParaRPr lang="en-GB" noProof="1"/>
          </a:p>
        </p:txBody>
      </p:sp>
      <p:sp>
        <p:nvSpPr>
          <p:cNvPr id="3" name="Footer Placeholder 2"/>
          <p:cNvSpPr>
            <a:spLocks noGrp="1"/>
          </p:cNvSpPr>
          <p:nvPr>
            <p:ph type="ftr" sz="quarter" idx="3"/>
          </p:nvPr>
        </p:nvSpPr>
        <p:spPr/>
        <p:txBody>
          <a:bodyPr/>
          <a:lstStyle/>
          <a:p>
            <a:r>
              <a:rPr lang="en-GB" noProof="1"/>
              <a:t> </a:t>
            </a:r>
          </a:p>
        </p:txBody>
      </p:sp>
    </p:spTree>
    <p:extLst>
      <p:ext uri="{BB962C8B-B14F-4D97-AF65-F5344CB8AC3E}">
        <p14:creationId xmlns:p14="http://schemas.microsoft.com/office/powerpoint/2010/main" val="327864331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ctrTitle"/>
          </p:nvPr>
        </p:nvSpPr>
        <p:spPr/>
        <p:txBody>
          <a:bodyPr/>
          <a:lstStyle/>
          <a:p>
            <a:r>
              <a:rPr lang="en-GB" sz="2400" dirty="0"/>
              <a:t>CLAIMS AWARENESS SESSION</a:t>
            </a:r>
            <a:br>
              <a:rPr lang="en-GB" sz="2400" dirty="0"/>
            </a:br>
            <a:endParaRPr lang="en-GB" sz="2400" dirty="0">
              <a:latin typeface="Futura Light" panose="00000400000000000000" pitchFamily="2" charset="0"/>
            </a:endParaRPr>
          </a:p>
        </p:txBody>
      </p:sp>
      <p:sp>
        <p:nvSpPr>
          <p:cNvPr id="17" name="Subtitle 16"/>
          <p:cNvSpPr>
            <a:spLocks noGrp="1"/>
          </p:cNvSpPr>
          <p:nvPr>
            <p:ph type="subTitle" idx="1"/>
          </p:nvPr>
        </p:nvSpPr>
        <p:spPr>
          <a:xfrm>
            <a:off x="3213190" y="3285892"/>
            <a:ext cx="3202478" cy="1131512"/>
          </a:xfrm>
        </p:spPr>
        <p:txBody>
          <a:bodyPr/>
          <a:lstStyle/>
          <a:p>
            <a:r>
              <a:rPr lang="en-GB" sz="2000" b="1" dirty="0"/>
              <a:t>Overview </a:t>
            </a:r>
          </a:p>
          <a:p>
            <a:endParaRPr lang="en-GB" dirty="0"/>
          </a:p>
          <a:p>
            <a:endParaRPr lang="en-GB" dirty="0"/>
          </a:p>
          <a:p>
            <a:endParaRPr lang="en-GB" dirty="0"/>
          </a:p>
        </p:txBody>
      </p:sp>
      <p:sp>
        <p:nvSpPr>
          <p:cNvPr id="18" name="Text Placeholder 17"/>
          <p:cNvSpPr>
            <a:spLocks noGrp="1"/>
          </p:cNvSpPr>
          <p:nvPr>
            <p:ph type="body" sz="quarter" idx="10"/>
          </p:nvPr>
        </p:nvSpPr>
        <p:spPr/>
        <p:txBody>
          <a:bodyPr/>
          <a:lstStyle/>
          <a:p>
            <a:r>
              <a:rPr lang="en-GB" dirty="0"/>
              <a:t>Ben Nzeh</a:t>
            </a:r>
          </a:p>
        </p:txBody>
      </p:sp>
      <p:sp>
        <p:nvSpPr>
          <p:cNvPr id="19" name="Text Placeholder 18"/>
          <p:cNvSpPr>
            <a:spLocks noGrp="1"/>
          </p:cNvSpPr>
          <p:nvPr>
            <p:ph type="body" sz="quarter" idx="11"/>
          </p:nvPr>
        </p:nvSpPr>
        <p:spPr/>
        <p:txBody>
          <a:bodyPr/>
          <a:lstStyle/>
          <a:p>
            <a:r>
              <a:rPr lang="en-GB" dirty="0"/>
              <a:t>Head Claims</a:t>
            </a:r>
          </a:p>
        </p:txBody>
      </p:sp>
      <p:sp>
        <p:nvSpPr>
          <p:cNvPr id="10" name="Slide Number Placeholder 9"/>
          <p:cNvSpPr>
            <a:spLocks noGrp="1"/>
          </p:cNvSpPr>
          <p:nvPr>
            <p:ph type="sldNum" sz="quarter" idx="4"/>
          </p:nvPr>
        </p:nvSpPr>
        <p:spPr>
          <a:xfrm>
            <a:off x="9881530" y="6479279"/>
            <a:ext cx="266673" cy="237744"/>
          </a:xfrm>
        </p:spPr>
        <p:txBody>
          <a:bodyPr/>
          <a:lstStyle/>
          <a:p>
            <a:pPr defTabSz="914400"/>
            <a:fld id="{D32BAE6A-B452-4007-8177-56DD051636F9}" type="slidenum">
              <a:rPr lang="en-GB">
                <a:solidFill>
                  <a:srgbClr val="595959"/>
                </a:solidFill>
                <a:latin typeface="Futura Medium"/>
              </a:rPr>
              <a:pPr defTabSz="914400"/>
              <a:t>4</a:t>
            </a:fld>
            <a:endParaRPr lang="en-GB" dirty="0">
              <a:solidFill>
                <a:srgbClr val="595959"/>
              </a:solidFill>
              <a:latin typeface="Futura Medium"/>
            </a:endParaRPr>
          </a:p>
        </p:txBody>
      </p:sp>
      <p:sp>
        <p:nvSpPr>
          <p:cNvPr id="5" name="Date Placeholder 4"/>
          <p:cNvSpPr>
            <a:spLocks noGrp="1"/>
          </p:cNvSpPr>
          <p:nvPr>
            <p:ph type="dt" sz="half" idx="2"/>
          </p:nvPr>
        </p:nvSpPr>
        <p:spPr>
          <a:xfrm>
            <a:off x="8749990" y="6470685"/>
            <a:ext cx="1080000" cy="237744"/>
          </a:xfrm>
        </p:spPr>
        <p:txBody>
          <a:bodyPr/>
          <a:lstStyle/>
          <a:p>
            <a:pPr defTabSz="914400"/>
            <a:r>
              <a:rPr lang="en-US" sz="1000" b="1" dirty="0">
                <a:solidFill>
                  <a:srgbClr val="595959"/>
                </a:solidFill>
                <a:latin typeface="Futura Medium"/>
              </a:rPr>
              <a:t>January 2024</a:t>
            </a:r>
            <a:endParaRPr lang="en-GB" sz="1000" b="1" dirty="0">
              <a:solidFill>
                <a:srgbClr val="595959"/>
              </a:solidFill>
              <a:latin typeface="Futura Medium"/>
            </a:endParaRPr>
          </a:p>
        </p:txBody>
      </p:sp>
      <p:sp>
        <p:nvSpPr>
          <p:cNvPr id="2" name="Footer Placeholder 1"/>
          <p:cNvSpPr>
            <a:spLocks noGrp="1"/>
          </p:cNvSpPr>
          <p:nvPr>
            <p:ph type="ftr" sz="quarter" idx="3"/>
          </p:nvPr>
        </p:nvSpPr>
        <p:spPr>
          <a:xfrm>
            <a:off x="4447674" y="6500421"/>
            <a:ext cx="3300663" cy="237744"/>
          </a:xfrm>
        </p:spPr>
        <p:txBody>
          <a:bodyPr/>
          <a:lstStyle/>
          <a:p>
            <a:pPr defTabSz="914400">
              <a:defRPr/>
            </a:pPr>
            <a:r>
              <a:rPr lang="en-GB" dirty="0">
                <a:solidFill>
                  <a:srgbClr val="595959"/>
                </a:solidFill>
                <a:latin typeface="Futura Medium"/>
              </a:rPr>
              <a:t>.</a:t>
            </a:r>
          </a:p>
        </p:txBody>
      </p:sp>
      <p:pic>
        <p:nvPicPr>
          <p:cNvPr id="3" name="Picture 2">
            <a:extLst>
              <a:ext uri="{FF2B5EF4-FFF2-40B4-BE49-F238E27FC236}">
                <a16:creationId xmlns:a16="http://schemas.microsoft.com/office/drawing/2014/main" id="{CC1C2716-215E-4AD7-8BC1-744A05C032A0}"/>
              </a:ext>
            </a:extLst>
          </p:cNvPr>
          <p:cNvPicPr>
            <a:picLocks noChangeAspect="1"/>
          </p:cNvPicPr>
          <p:nvPr/>
        </p:nvPicPr>
        <p:blipFill>
          <a:blip r:embed="rId3"/>
          <a:stretch>
            <a:fillRect/>
          </a:stretch>
        </p:blipFill>
        <p:spPr>
          <a:xfrm>
            <a:off x="5924551" y="1543050"/>
            <a:ext cx="4743450" cy="2760150"/>
          </a:xfrm>
          <a:prstGeom prst="rect">
            <a:avLst/>
          </a:prstGeom>
        </p:spPr>
      </p:pic>
    </p:spTree>
    <p:extLst>
      <p:ext uri="{BB962C8B-B14F-4D97-AF65-F5344CB8AC3E}">
        <p14:creationId xmlns:p14="http://schemas.microsoft.com/office/powerpoint/2010/main" val="125080682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6000" dirty="0">
                <a:solidFill>
                  <a:srgbClr val="D42E12"/>
                </a:solidFill>
                <a:latin typeface="Futura Light" pitchFamily="2" charset="0"/>
              </a:rPr>
              <a:t>1.0</a:t>
            </a:r>
            <a:endParaRPr lang="en-GB" dirty="0"/>
          </a:p>
        </p:txBody>
      </p:sp>
      <p:sp>
        <p:nvSpPr>
          <p:cNvPr id="3" name="Content Placeholder 2"/>
          <p:cNvSpPr>
            <a:spLocks noGrp="1"/>
          </p:cNvSpPr>
          <p:nvPr>
            <p:ph sz="quarter" idx="11"/>
          </p:nvPr>
        </p:nvSpPr>
        <p:spPr/>
        <p:txBody>
          <a:bodyPr/>
          <a:lstStyle/>
          <a:p>
            <a:pPr marL="0" lvl="1" indent="0">
              <a:buNone/>
            </a:pPr>
            <a:endParaRPr lang="en-GB" sz="2400" dirty="0"/>
          </a:p>
          <a:p>
            <a:pPr marL="0" lvl="1" indent="0">
              <a:buNone/>
            </a:pPr>
            <a:r>
              <a:rPr lang="en-GB" dirty="0"/>
              <a:t>  </a:t>
            </a:r>
            <a:r>
              <a:rPr lang="en-GB" sz="2400" b="1" dirty="0"/>
              <a:t>INTRODUCTION &amp; BACKGROUND</a:t>
            </a:r>
            <a:endParaRPr lang="en-GB" sz="2800" b="1" dirty="0"/>
          </a:p>
          <a:p>
            <a:pPr defTabSz="268281"/>
            <a:endParaRPr lang="en-GB" sz="2800" b="1" dirty="0"/>
          </a:p>
          <a:p>
            <a:pPr defTabSz="268281"/>
            <a:r>
              <a:rPr lang="en-US" b="1" dirty="0"/>
              <a:t>Cargo Claims fall into three categories:</a:t>
            </a:r>
          </a:p>
          <a:p>
            <a:pPr marL="429975" lvl="1" indent="-257175">
              <a:buFont typeface="Wingdings" panose="05000000000000000000" pitchFamily="2" charset="2"/>
              <a:buChar char="Ø"/>
            </a:pPr>
            <a:r>
              <a:rPr lang="en-US" sz="1800" dirty="0"/>
              <a:t>Demurrage – well established process, claims being reimbursed on actual performance</a:t>
            </a:r>
          </a:p>
          <a:p>
            <a:pPr marL="429975" lvl="1" indent="-257175">
              <a:buFont typeface="Wingdings" panose="05000000000000000000" pitchFamily="2" charset="2"/>
              <a:buChar char="Ø"/>
            </a:pPr>
            <a:r>
              <a:rPr lang="en-US" sz="1800" dirty="0"/>
              <a:t>Oil Loss – existing process between NNPC and SPDC/SNEPCo, not mature with NUPRC or NUIMS</a:t>
            </a:r>
          </a:p>
          <a:p>
            <a:pPr marL="429975" lvl="1" indent="-257175">
              <a:buFont typeface="Wingdings" panose="05000000000000000000" pitchFamily="2" charset="2"/>
              <a:buChar char="Ø"/>
            </a:pPr>
            <a:r>
              <a:rPr lang="en-US" sz="1800" dirty="0"/>
              <a:t>Miscellaneous Claims (Or “Post Deal Expenses”, “PDE”) – no process</a:t>
            </a:r>
          </a:p>
          <a:p>
            <a:pPr marL="0" lvl="1" indent="0">
              <a:buNone/>
            </a:pPr>
            <a:endParaRPr lang="en-US" sz="1050" dirty="0"/>
          </a:p>
          <a:p>
            <a:pPr marL="0" lvl="1" indent="0">
              <a:buNone/>
            </a:pPr>
            <a:endParaRPr lang="en-GB" sz="2800" b="1" dirty="0"/>
          </a:p>
          <a:p>
            <a:pPr marL="0" lvl="1" indent="0">
              <a:buNone/>
            </a:pPr>
            <a:r>
              <a:rPr lang="en-GB" dirty="0"/>
              <a:t>  </a:t>
            </a:r>
          </a:p>
        </p:txBody>
      </p:sp>
      <p:sp>
        <p:nvSpPr>
          <p:cNvPr id="12" name="Slide Number Placeholder 11"/>
          <p:cNvSpPr>
            <a:spLocks noGrp="1"/>
          </p:cNvSpPr>
          <p:nvPr>
            <p:ph type="sldNum" sz="quarter" idx="4"/>
          </p:nvPr>
        </p:nvSpPr>
        <p:spPr/>
        <p:txBody>
          <a:bodyPr/>
          <a:lstStyle/>
          <a:p>
            <a:pPr defTabSz="914400"/>
            <a:fld id="{D32BAE6A-B452-4007-8177-56DD051636F9}" type="slidenum">
              <a:rPr lang="en-GB">
                <a:solidFill>
                  <a:srgbClr val="595959"/>
                </a:solidFill>
                <a:latin typeface="Futura Medium"/>
              </a:rPr>
              <a:pPr defTabSz="914400"/>
              <a:t>5</a:t>
            </a:fld>
            <a:endParaRPr lang="en-GB" dirty="0">
              <a:solidFill>
                <a:srgbClr val="595959"/>
              </a:solidFill>
              <a:latin typeface="Futura Medium"/>
            </a:endParaRPr>
          </a:p>
        </p:txBody>
      </p:sp>
      <p:sp>
        <p:nvSpPr>
          <p:cNvPr id="7" name="Date Placeholder 6"/>
          <p:cNvSpPr>
            <a:spLocks noGrp="1"/>
          </p:cNvSpPr>
          <p:nvPr>
            <p:ph type="dt" sz="half" idx="2"/>
          </p:nvPr>
        </p:nvSpPr>
        <p:spPr>
          <a:xfrm>
            <a:off x="8736314" y="6478119"/>
            <a:ext cx="1080000" cy="237744"/>
          </a:xfrm>
        </p:spPr>
        <p:txBody>
          <a:bodyPr/>
          <a:lstStyle/>
          <a:p>
            <a:pPr defTabSz="914400"/>
            <a:r>
              <a:rPr lang="en-US" sz="1000" b="1" dirty="0">
                <a:solidFill>
                  <a:srgbClr val="595959"/>
                </a:solidFill>
                <a:latin typeface="Futura Medium"/>
              </a:rPr>
              <a:t>January 2024</a:t>
            </a:r>
            <a:endParaRPr lang="en-GB" sz="1000" b="1" dirty="0">
              <a:solidFill>
                <a:srgbClr val="595959"/>
              </a:solidFill>
              <a:latin typeface="Futura Medium"/>
            </a:endParaRPr>
          </a:p>
          <a:p>
            <a:pPr defTabSz="914400"/>
            <a:endParaRPr lang="en-GB" b="1" dirty="0">
              <a:solidFill>
                <a:srgbClr val="595959"/>
              </a:solidFill>
              <a:latin typeface="Futura Medium"/>
            </a:endParaRPr>
          </a:p>
        </p:txBody>
      </p:sp>
      <p:sp>
        <p:nvSpPr>
          <p:cNvPr id="4" name="Footer Placeholder 3"/>
          <p:cNvSpPr>
            <a:spLocks noGrp="1"/>
          </p:cNvSpPr>
          <p:nvPr>
            <p:ph type="ftr" sz="quarter" idx="3"/>
          </p:nvPr>
        </p:nvSpPr>
        <p:spPr/>
        <p:txBody>
          <a:bodyPr/>
          <a:lstStyle/>
          <a:p>
            <a:pPr defTabSz="914400">
              <a:defRPr/>
            </a:pPr>
            <a:r>
              <a:rPr lang="en-GB" dirty="0">
                <a:solidFill>
                  <a:srgbClr val="595959"/>
                </a:solidFill>
                <a:latin typeface="Futura Medium"/>
              </a:rPr>
              <a:t>.</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2363535" y="52365"/>
            <a:ext cx="7700400" cy="419156"/>
          </a:xfrm>
        </p:spPr>
        <p:txBody>
          <a:bodyPr/>
          <a:lstStyle/>
          <a:p>
            <a:r>
              <a:rPr lang="en-GB" dirty="0"/>
              <a:t>What is Demurrage </a:t>
            </a:r>
          </a:p>
        </p:txBody>
      </p:sp>
      <p:sp>
        <p:nvSpPr>
          <p:cNvPr id="14" name="Date Placeholder 13"/>
          <p:cNvSpPr>
            <a:spLocks noGrp="1"/>
          </p:cNvSpPr>
          <p:nvPr>
            <p:ph type="dt" sz="half" idx="2"/>
          </p:nvPr>
        </p:nvSpPr>
        <p:spPr>
          <a:xfrm>
            <a:off x="9007950" y="6470361"/>
            <a:ext cx="900765" cy="231005"/>
          </a:xfrm>
          <a:prstGeom prst="rect">
            <a:avLst/>
          </a:prstGeom>
        </p:spPr>
        <p:txBody>
          <a:bodyPr/>
          <a:lstStyle/>
          <a:p>
            <a:pPr defTabSz="914400"/>
            <a:r>
              <a:rPr lang="en-GB" sz="1000" b="1" dirty="0">
                <a:solidFill>
                  <a:srgbClr val="595959"/>
                </a:solidFill>
                <a:latin typeface="Futura Medium"/>
              </a:rPr>
              <a:t>January 2024</a:t>
            </a:r>
          </a:p>
        </p:txBody>
      </p:sp>
      <p:sp>
        <p:nvSpPr>
          <p:cNvPr id="15" name="Slide Number Placeholder 14"/>
          <p:cNvSpPr>
            <a:spLocks noGrp="1"/>
          </p:cNvSpPr>
          <p:nvPr>
            <p:ph type="sldNum" sz="quarter" idx="4"/>
          </p:nvPr>
        </p:nvSpPr>
        <p:spPr>
          <a:xfrm>
            <a:off x="9930600" y="6470361"/>
            <a:ext cx="266673" cy="169277"/>
          </a:xfrm>
          <a:prstGeom prst="rect">
            <a:avLst/>
          </a:prstGeom>
        </p:spPr>
        <p:txBody>
          <a:bodyPr/>
          <a:lstStyle/>
          <a:p>
            <a:pPr defTabSz="914400"/>
            <a:fld id="{D32BAE6A-B452-4007-8177-56DD051636F9}" type="slidenum">
              <a:rPr lang="en-GB">
                <a:solidFill>
                  <a:srgbClr val="595959"/>
                </a:solidFill>
                <a:latin typeface="Futura Medium"/>
              </a:rPr>
              <a:pPr defTabSz="914400"/>
              <a:t>6</a:t>
            </a:fld>
            <a:endParaRPr lang="en-GB" dirty="0">
              <a:solidFill>
                <a:srgbClr val="595959"/>
              </a:solidFill>
              <a:latin typeface="Futura Medium"/>
            </a:endParaRPr>
          </a:p>
        </p:txBody>
      </p:sp>
      <p:sp>
        <p:nvSpPr>
          <p:cNvPr id="16" name="Footer Placeholder 15"/>
          <p:cNvSpPr>
            <a:spLocks noGrp="1"/>
          </p:cNvSpPr>
          <p:nvPr>
            <p:ph type="ftr" sz="quarter" idx="3"/>
          </p:nvPr>
        </p:nvSpPr>
        <p:spPr>
          <a:xfrm>
            <a:off x="5378118" y="6550026"/>
            <a:ext cx="2161652" cy="307975"/>
          </a:xfrm>
          <a:prstGeom prst="rect">
            <a:avLst/>
          </a:prstGeom>
        </p:spPr>
        <p:txBody>
          <a:bodyPr/>
          <a:lstStyle/>
          <a:p>
            <a:pPr defTabSz="914400">
              <a:defRPr/>
            </a:pPr>
            <a:r>
              <a:rPr lang="en-GB" dirty="0">
                <a:solidFill>
                  <a:srgbClr val="595959"/>
                </a:solidFill>
                <a:latin typeface="Futura Medium"/>
              </a:rPr>
              <a:t> </a:t>
            </a:r>
          </a:p>
        </p:txBody>
      </p:sp>
      <p:sp>
        <p:nvSpPr>
          <p:cNvPr id="47" name="TextBox 46"/>
          <p:cNvSpPr txBox="1"/>
          <p:nvPr/>
        </p:nvSpPr>
        <p:spPr>
          <a:xfrm>
            <a:off x="7553326" y="1185863"/>
            <a:ext cx="2486025" cy="671512"/>
          </a:xfrm>
          <a:prstGeom prst="rect">
            <a:avLst/>
          </a:prstGeom>
          <a:noFill/>
        </p:spPr>
        <p:txBody>
          <a:bodyPr wrap="square" lIns="0" tIns="0" rIns="0" bIns="0" rtlCol="0">
            <a:noAutofit/>
          </a:bodyPr>
          <a:lstStyle/>
          <a:p>
            <a:pPr marL="177800" indent="-177800" defTabSz="914400">
              <a:lnSpc>
                <a:spcPct val="113000"/>
              </a:lnSpc>
              <a:spcAft>
                <a:spcPts val="60"/>
              </a:spcAft>
            </a:pPr>
            <a:endParaRPr lang="en-US" sz="1600" dirty="0">
              <a:solidFill>
                <a:srgbClr val="595959"/>
              </a:solidFill>
              <a:latin typeface="Futura Medium"/>
            </a:endParaRPr>
          </a:p>
        </p:txBody>
      </p:sp>
      <p:sp>
        <p:nvSpPr>
          <p:cNvPr id="10" name="TextBox 9"/>
          <p:cNvSpPr txBox="1"/>
          <p:nvPr/>
        </p:nvSpPr>
        <p:spPr>
          <a:xfrm>
            <a:off x="1991544" y="764705"/>
            <a:ext cx="8208912" cy="5618111"/>
          </a:xfrm>
          <a:prstGeom prst="rect">
            <a:avLst/>
          </a:prstGeom>
          <a:noFill/>
        </p:spPr>
        <p:txBody>
          <a:bodyPr wrap="square" lIns="0" tIns="0" rIns="0" bIns="0" rtlCol="0">
            <a:noAutofit/>
          </a:bodyPr>
          <a:lstStyle/>
          <a:p>
            <a:pPr marL="341313" lvl="1" algn="just" defTabSz="914400"/>
            <a:endParaRPr lang="nl-NL" altLang="en-US" sz="1800" dirty="0">
              <a:solidFill>
                <a:srgbClr val="595959"/>
              </a:solidFill>
              <a:latin typeface="Futura Medium"/>
            </a:endParaRPr>
          </a:p>
          <a:p>
            <a:pPr marL="0" lvl="1" algn="just" defTabSz="914400"/>
            <a:r>
              <a:rPr lang="nl-NL" altLang="en-US" sz="1800" dirty="0">
                <a:solidFill>
                  <a:srgbClr val="595959"/>
                </a:solidFill>
                <a:latin typeface="Futura Medium"/>
              </a:rPr>
              <a:t>Demurrage is the amount of money paid as compensation to the owner of a vessel or the charterers for detaining the vessel beyond an agreed amount of time for loading and / or unloading cargo.</a:t>
            </a:r>
          </a:p>
          <a:p>
            <a:pPr marL="0" lvl="1" defTabSz="914400"/>
            <a:r>
              <a:rPr lang="nl-NL" altLang="en-US" sz="1800" dirty="0">
                <a:solidFill>
                  <a:srgbClr val="595959"/>
                </a:solidFill>
                <a:latin typeface="Futura Medium"/>
              </a:rPr>
              <a:t>    </a:t>
            </a:r>
          </a:p>
          <a:p>
            <a:pPr marL="742950" lvl="1" indent="-285750" defTabSz="914400">
              <a:lnSpc>
                <a:spcPct val="113000"/>
              </a:lnSpc>
              <a:spcAft>
                <a:spcPts val="1200"/>
              </a:spcAft>
              <a:buClr>
                <a:srgbClr val="595959"/>
              </a:buClr>
              <a:buFont typeface="Wingdings" panose="05000000000000000000" pitchFamily="2" charset="2"/>
              <a:buChar char="Ø"/>
            </a:pPr>
            <a:r>
              <a:rPr lang="nl-NL" altLang="en-US" sz="1600" dirty="0">
                <a:solidFill>
                  <a:srgbClr val="595959"/>
                </a:solidFill>
                <a:latin typeface="Futura Medium"/>
              </a:rPr>
              <a:t>The  agreed amount of time to berth and load a vessel before demurage is incurred is 36 hours with a minimum of 18 hours  pro rated to the size of the vessel</a:t>
            </a:r>
            <a:r>
              <a:rPr lang="en-GB" altLang="en-US" sz="1600" dirty="0">
                <a:solidFill>
                  <a:srgbClr val="595959"/>
                </a:solidFill>
                <a:latin typeface="Futura Medium"/>
              </a:rPr>
              <a:t>. The demurrage clock stops once loading hoses are disconnected.</a:t>
            </a:r>
            <a:endParaRPr lang="nl-NL" altLang="en-US" sz="1600" dirty="0">
              <a:solidFill>
                <a:srgbClr val="595959"/>
              </a:solidFill>
              <a:latin typeface="Futura Medium"/>
            </a:endParaRPr>
          </a:p>
          <a:p>
            <a:pPr marL="742950" lvl="1" indent="-285750" defTabSz="914400">
              <a:lnSpc>
                <a:spcPct val="113000"/>
              </a:lnSpc>
              <a:spcAft>
                <a:spcPts val="1200"/>
              </a:spcAft>
              <a:buClr>
                <a:srgbClr val="595959"/>
              </a:buClr>
              <a:buFont typeface="Wingdings" panose="05000000000000000000" pitchFamily="2" charset="2"/>
              <a:buChar char="Ø"/>
            </a:pPr>
            <a:r>
              <a:rPr lang="nl-NL" altLang="en-US" sz="1600" dirty="0">
                <a:solidFill>
                  <a:srgbClr val="595959"/>
                </a:solidFill>
                <a:latin typeface="Futura Medium"/>
              </a:rPr>
              <a:t>Not all demurrage is punitive. There is what is called good demurrage. i.e. Incurring demurrage to ensure a vessel is waiting in the vicinity of  the terminal to avoid shut ins due to tank tops. E.g. 1 days demurrage 70k v 5mln for 100kb production shut in. </a:t>
            </a:r>
          </a:p>
          <a:p>
            <a:pPr marL="742950" lvl="1" indent="-285750" defTabSz="914400">
              <a:lnSpc>
                <a:spcPct val="113000"/>
              </a:lnSpc>
              <a:spcAft>
                <a:spcPts val="60"/>
              </a:spcAft>
              <a:buClr>
                <a:srgbClr val="595959"/>
              </a:buClr>
              <a:buFont typeface="Wingdings" panose="05000000000000000000" pitchFamily="2" charset="2"/>
              <a:buChar char="Ø"/>
            </a:pPr>
            <a:r>
              <a:rPr lang="nl-NL" altLang="en-US" sz="1600" dirty="0">
                <a:solidFill>
                  <a:srgbClr val="595959"/>
                </a:solidFill>
                <a:latin typeface="Futura Medium"/>
              </a:rPr>
              <a:t>Demurrage charges are calculated by using Average Freight Rate Assessment (AFRA) based on the Worldwide Tanker Nominal Freight scale but prorated to the size of the tanker. </a:t>
            </a:r>
          </a:p>
          <a:p>
            <a:pPr marL="1200150" lvl="2" indent="-285750" defTabSz="914400">
              <a:lnSpc>
                <a:spcPct val="113000"/>
              </a:lnSpc>
              <a:spcAft>
                <a:spcPts val="60"/>
              </a:spcAft>
              <a:buClr>
                <a:srgbClr val="595959"/>
              </a:buClr>
              <a:buFont typeface="Wingdings" panose="05000000000000000000" pitchFamily="2" charset="2"/>
              <a:buChar char="v"/>
            </a:pPr>
            <a:r>
              <a:rPr lang="nl-NL" altLang="en-US" sz="1600" dirty="0">
                <a:solidFill>
                  <a:srgbClr val="595959"/>
                </a:solidFill>
                <a:latin typeface="Futura Medium"/>
              </a:rPr>
              <a:t> </a:t>
            </a:r>
            <a:r>
              <a:rPr lang="nl-NL" altLang="en-US" sz="1400" dirty="0">
                <a:solidFill>
                  <a:srgbClr val="595959"/>
                </a:solidFill>
                <a:latin typeface="Futura Medium"/>
              </a:rPr>
              <a:t>Current Vessel rates per day: VLCC $68,598    SUEZ MAX  $71,284</a:t>
            </a:r>
          </a:p>
          <a:p>
            <a:pPr marL="742950" lvl="1" indent="-285750" defTabSz="914400">
              <a:lnSpc>
                <a:spcPct val="113000"/>
              </a:lnSpc>
              <a:spcAft>
                <a:spcPts val="60"/>
              </a:spcAft>
              <a:buClr>
                <a:srgbClr val="595959"/>
              </a:buClr>
              <a:buFont typeface="Wingdings" panose="05000000000000000000" pitchFamily="2" charset="2"/>
              <a:buChar char="Ø"/>
            </a:pPr>
            <a:endParaRPr lang="nl-NL" altLang="en-US" sz="1600" dirty="0">
              <a:solidFill>
                <a:srgbClr val="595959"/>
              </a:solidFill>
              <a:latin typeface="Futura Medium"/>
            </a:endParaRPr>
          </a:p>
          <a:p>
            <a:pPr marL="457200" lvl="1" defTabSz="914400">
              <a:lnSpc>
                <a:spcPct val="113000"/>
              </a:lnSpc>
              <a:spcAft>
                <a:spcPts val="60"/>
              </a:spcAft>
              <a:buClr>
                <a:srgbClr val="595959"/>
              </a:buClr>
            </a:pPr>
            <a:endParaRPr lang="en-GB" sz="1600" dirty="0">
              <a:solidFill>
                <a:srgbClr val="595959"/>
              </a:solidFill>
              <a:latin typeface="Futura Medium"/>
            </a:endParaRPr>
          </a:p>
          <a:p>
            <a:pPr marL="457200" lvl="1" defTabSz="914400">
              <a:lnSpc>
                <a:spcPct val="113000"/>
              </a:lnSpc>
              <a:spcAft>
                <a:spcPts val="60"/>
              </a:spcAft>
              <a:buClr>
                <a:srgbClr val="595959"/>
              </a:buClr>
            </a:pPr>
            <a:endParaRPr lang="en-GB" sz="1600" dirty="0">
              <a:solidFill>
                <a:srgbClr val="595959"/>
              </a:solidFill>
              <a:latin typeface="Futura Medium"/>
            </a:endParaRPr>
          </a:p>
        </p:txBody>
      </p:sp>
    </p:spTree>
    <p:extLst>
      <p:ext uri="{BB962C8B-B14F-4D97-AF65-F5344CB8AC3E}">
        <p14:creationId xmlns:p14="http://schemas.microsoft.com/office/powerpoint/2010/main" val="165914231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185C9-605C-4703-9147-39A2F6FD089A}"/>
              </a:ext>
            </a:extLst>
          </p:cNvPr>
          <p:cNvSpPr>
            <a:spLocks noGrp="1"/>
          </p:cNvSpPr>
          <p:nvPr>
            <p:ph type="title"/>
          </p:nvPr>
        </p:nvSpPr>
        <p:spPr/>
        <p:txBody>
          <a:bodyPr/>
          <a:lstStyle/>
          <a:p>
            <a:r>
              <a:rPr lang="en-US" dirty="0"/>
              <a:t> OIL LOSES</a:t>
            </a:r>
          </a:p>
        </p:txBody>
      </p:sp>
      <p:sp>
        <p:nvSpPr>
          <p:cNvPr id="3" name="Content Placeholder 2">
            <a:extLst>
              <a:ext uri="{FF2B5EF4-FFF2-40B4-BE49-F238E27FC236}">
                <a16:creationId xmlns:a16="http://schemas.microsoft.com/office/drawing/2014/main" id="{870311B1-4FF5-4D1C-B81D-CAE48D84DC06}"/>
              </a:ext>
            </a:extLst>
          </p:cNvPr>
          <p:cNvSpPr>
            <a:spLocks noGrp="1"/>
          </p:cNvSpPr>
          <p:nvPr>
            <p:ph sz="quarter" idx="11"/>
          </p:nvPr>
        </p:nvSpPr>
        <p:spPr/>
        <p:txBody>
          <a:bodyPr/>
          <a:lstStyle/>
          <a:p>
            <a:pPr algn="just"/>
            <a:r>
              <a:rPr lang="en-US" sz="1800" dirty="0"/>
              <a:t>Oil loses may occur at many stages during the supply cycle of crude oil. With the prevailing high crude prices, claims due to cargo loss, have increased tremendously. Thus, more serious attention is presently given to measurement accuracy in Petroleum Industry, with a view to minimizing such cargo losses.</a:t>
            </a:r>
          </a:p>
          <a:p>
            <a:pPr algn="just"/>
            <a:r>
              <a:rPr lang="en-US" sz="1800" dirty="0"/>
              <a:t>Cargo loss claim could either be a Quantity or Quality claim.</a:t>
            </a:r>
          </a:p>
          <a:p>
            <a:pPr algn="just"/>
            <a:endParaRPr lang="en-US" sz="1800" dirty="0"/>
          </a:p>
          <a:p>
            <a:pPr marL="285750" indent="-285750" algn="just">
              <a:buFont typeface="Wingdings" panose="05000000000000000000" pitchFamily="2" charset="2"/>
              <a:buChar char="Ø"/>
            </a:pPr>
            <a:r>
              <a:rPr lang="en-US" sz="1800" dirty="0"/>
              <a:t>Overstated Bills of Lading (Quantity Claim)</a:t>
            </a:r>
          </a:p>
          <a:p>
            <a:pPr marL="285750" indent="-285750" algn="just">
              <a:buFont typeface="Wingdings" panose="05000000000000000000" pitchFamily="2" charset="2"/>
              <a:buChar char="Ø"/>
            </a:pPr>
            <a:r>
              <a:rPr lang="en-US" sz="1800" dirty="0"/>
              <a:t>Understated BS&amp;W (Quality Claim)</a:t>
            </a:r>
          </a:p>
          <a:p>
            <a:endParaRPr lang="en-US" dirty="0"/>
          </a:p>
        </p:txBody>
      </p:sp>
      <p:sp>
        <p:nvSpPr>
          <p:cNvPr id="4" name="Slide Number Placeholder 3">
            <a:extLst>
              <a:ext uri="{FF2B5EF4-FFF2-40B4-BE49-F238E27FC236}">
                <a16:creationId xmlns:a16="http://schemas.microsoft.com/office/drawing/2014/main" id="{938F0877-AFC4-4D41-9A4E-ADCE74FAAA50}"/>
              </a:ext>
            </a:extLst>
          </p:cNvPr>
          <p:cNvSpPr>
            <a:spLocks noGrp="1"/>
          </p:cNvSpPr>
          <p:nvPr>
            <p:ph type="sldNum" sz="quarter" idx="4"/>
          </p:nvPr>
        </p:nvSpPr>
        <p:spPr/>
        <p:txBody>
          <a:bodyPr/>
          <a:lstStyle/>
          <a:p>
            <a:pPr defTabSz="914400"/>
            <a:fld id="{D32BAE6A-B452-4007-8177-56DD051636F9}" type="slidenum">
              <a:rPr lang="en-GB">
                <a:solidFill>
                  <a:srgbClr val="595959"/>
                </a:solidFill>
                <a:latin typeface="Futura Medium"/>
              </a:rPr>
              <a:pPr defTabSz="914400"/>
              <a:t>7</a:t>
            </a:fld>
            <a:endParaRPr lang="en-GB" dirty="0">
              <a:solidFill>
                <a:srgbClr val="595959"/>
              </a:solidFill>
              <a:latin typeface="Futura Medium"/>
            </a:endParaRPr>
          </a:p>
        </p:txBody>
      </p:sp>
      <p:sp>
        <p:nvSpPr>
          <p:cNvPr id="5" name="Date Placeholder 4">
            <a:extLst>
              <a:ext uri="{FF2B5EF4-FFF2-40B4-BE49-F238E27FC236}">
                <a16:creationId xmlns:a16="http://schemas.microsoft.com/office/drawing/2014/main" id="{765AEA21-C4F4-4EBA-8455-58C0F2C3B8FD}"/>
              </a:ext>
            </a:extLst>
          </p:cNvPr>
          <p:cNvSpPr>
            <a:spLocks noGrp="1"/>
          </p:cNvSpPr>
          <p:nvPr>
            <p:ph type="dt" sz="half" idx="2"/>
          </p:nvPr>
        </p:nvSpPr>
        <p:spPr>
          <a:xfrm>
            <a:off x="8821584" y="6478119"/>
            <a:ext cx="1080000" cy="237744"/>
          </a:xfrm>
        </p:spPr>
        <p:txBody>
          <a:bodyPr/>
          <a:lstStyle/>
          <a:p>
            <a:pPr defTabSz="914400"/>
            <a:r>
              <a:rPr lang="en-US" sz="1000" b="1" dirty="0">
                <a:solidFill>
                  <a:srgbClr val="595959"/>
                </a:solidFill>
                <a:latin typeface="Futura Medium"/>
              </a:rPr>
              <a:t>January 2024</a:t>
            </a:r>
            <a:endParaRPr lang="en-GB" sz="1000" b="1" dirty="0">
              <a:solidFill>
                <a:srgbClr val="595959"/>
              </a:solidFill>
              <a:latin typeface="Futura Medium"/>
            </a:endParaRPr>
          </a:p>
        </p:txBody>
      </p:sp>
      <p:sp>
        <p:nvSpPr>
          <p:cNvPr id="6" name="Footer Placeholder 5">
            <a:extLst>
              <a:ext uri="{FF2B5EF4-FFF2-40B4-BE49-F238E27FC236}">
                <a16:creationId xmlns:a16="http://schemas.microsoft.com/office/drawing/2014/main" id="{A8080925-6AE1-43FE-B579-3ED65183B175}"/>
              </a:ext>
            </a:extLst>
          </p:cNvPr>
          <p:cNvSpPr>
            <a:spLocks noGrp="1"/>
          </p:cNvSpPr>
          <p:nvPr>
            <p:ph type="ftr" sz="quarter" idx="3"/>
          </p:nvPr>
        </p:nvSpPr>
        <p:spPr/>
        <p:txBody>
          <a:bodyPr/>
          <a:lstStyle/>
          <a:p>
            <a:pPr defTabSz="914400">
              <a:defRPr/>
            </a:pPr>
            <a:r>
              <a:rPr lang="en-GB">
                <a:solidFill>
                  <a:srgbClr val="595959"/>
                </a:solidFill>
                <a:latin typeface="Futura Medium"/>
              </a:rPr>
              <a:t>Footer</a:t>
            </a:r>
            <a:endParaRPr lang="en-GB" dirty="0">
              <a:solidFill>
                <a:srgbClr val="595959"/>
              </a:solidFill>
              <a:latin typeface="Futura Medium"/>
            </a:endParaRPr>
          </a:p>
        </p:txBody>
      </p:sp>
    </p:spTree>
    <p:extLst>
      <p:ext uri="{BB962C8B-B14F-4D97-AF65-F5344CB8AC3E}">
        <p14:creationId xmlns:p14="http://schemas.microsoft.com/office/powerpoint/2010/main" val="205899521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D0DD8-BC5B-4459-92AF-1C3196D396A1}"/>
              </a:ext>
            </a:extLst>
          </p:cNvPr>
          <p:cNvSpPr>
            <a:spLocks noGrp="1"/>
          </p:cNvSpPr>
          <p:nvPr>
            <p:ph type="title"/>
          </p:nvPr>
        </p:nvSpPr>
        <p:spPr/>
        <p:txBody>
          <a:bodyPr/>
          <a:lstStyle/>
          <a:p>
            <a:r>
              <a:rPr lang="en-US" dirty="0"/>
              <a:t>POST DEAL CLAIMS</a:t>
            </a:r>
            <a:endParaRPr lang="en-GB" dirty="0"/>
          </a:p>
        </p:txBody>
      </p:sp>
      <p:sp>
        <p:nvSpPr>
          <p:cNvPr id="4" name="Text Placeholder 3">
            <a:extLst>
              <a:ext uri="{FF2B5EF4-FFF2-40B4-BE49-F238E27FC236}">
                <a16:creationId xmlns:a16="http://schemas.microsoft.com/office/drawing/2014/main" id="{617C7747-4536-45A6-891F-B1285E251D99}"/>
              </a:ext>
            </a:extLst>
          </p:cNvPr>
          <p:cNvSpPr>
            <a:spLocks noGrp="1"/>
          </p:cNvSpPr>
          <p:nvPr>
            <p:ph type="body" sz="quarter" idx="11"/>
          </p:nvPr>
        </p:nvSpPr>
        <p:spPr>
          <a:xfrm>
            <a:off x="1905378" y="1768691"/>
            <a:ext cx="8378429" cy="3623072"/>
          </a:xfrm>
        </p:spPr>
        <p:txBody>
          <a:bodyPr/>
          <a:lstStyle/>
          <a:p>
            <a:pPr marL="0" lvl="1" indent="0">
              <a:buNone/>
            </a:pPr>
            <a:r>
              <a:rPr lang="en-US" sz="1800" dirty="0"/>
              <a:t>Miscellaneous Claims (Or “Post Deal Expenses”, “PDE”) include:</a:t>
            </a:r>
          </a:p>
          <a:p>
            <a:pPr marL="429975" lvl="1" indent="-257175">
              <a:buFont typeface="Wingdings" panose="05000000000000000000" pitchFamily="2" charset="2"/>
              <a:buChar char="Ø"/>
            </a:pPr>
            <a:r>
              <a:rPr lang="en-US" sz="1800" dirty="0"/>
              <a:t>These are NOT addressed directly under existing JOA/PSC agreements but are valid costs and include:</a:t>
            </a:r>
          </a:p>
          <a:p>
            <a:pPr marL="601425" lvl="2" indent="-257175">
              <a:buFont typeface="Wingdings" panose="05000000000000000000" pitchFamily="2" charset="2"/>
              <a:buChar char="Ø"/>
            </a:pPr>
            <a:r>
              <a:rPr lang="en-US" sz="1800" dirty="0"/>
              <a:t>Speed up costs: ships requested to arrive earlier than agreed laycan to avert production deferment/tanktops</a:t>
            </a:r>
          </a:p>
          <a:p>
            <a:pPr marL="601425" lvl="2" indent="-257175">
              <a:buFont typeface="Wingdings" panose="05000000000000000000" pitchFamily="2" charset="2"/>
              <a:buChar char="Ø"/>
            </a:pPr>
            <a:r>
              <a:rPr lang="en-US" sz="1800" dirty="0"/>
              <a:t>Water disposal and detention costs if high water in cargo and require additional logistics for disposal</a:t>
            </a:r>
          </a:p>
          <a:p>
            <a:pPr marL="601425" lvl="2" indent="-257175">
              <a:buFont typeface="Wingdings" panose="05000000000000000000" pitchFamily="2" charset="2"/>
              <a:buChar char="Ø"/>
            </a:pPr>
            <a:r>
              <a:rPr lang="en-US" sz="1800" dirty="0"/>
              <a:t>Costs associated with maintenance/line displacement operations at Terminals</a:t>
            </a:r>
          </a:p>
          <a:p>
            <a:pPr marL="601425" lvl="2" indent="-257175">
              <a:buFont typeface="Wingdings" panose="05000000000000000000" pitchFamily="2" charset="2"/>
              <a:buChar char="Ø"/>
            </a:pPr>
            <a:r>
              <a:rPr lang="en-US" sz="1800" dirty="0"/>
              <a:t>Extraordinary claims </a:t>
            </a:r>
            <a:r>
              <a:rPr lang="en-US" sz="1800" dirty="0" err="1"/>
              <a:t>eg</a:t>
            </a:r>
            <a:r>
              <a:rPr lang="en-US" sz="1800" dirty="0"/>
              <a:t> detention costs at Forcados during recent outages</a:t>
            </a:r>
            <a:endParaRPr lang="en-US" sz="1050" dirty="0"/>
          </a:p>
        </p:txBody>
      </p:sp>
      <p:sp>
        <p:nvSpPr>
          <p:cNvPr id="5" name="Date Placeholder 4">
            <a:extLst>
              <a:ext uri="{FF2B5EF4-FFF2-40B4-BE49-F238E27FC236}">
                <a16:creationId xmlns:a16="http://schemas.microsoft.com/office/drawing/2014/main" id="{F5D45DD8-6D00-44DA-A360-7709C7F849BA}"/>
              </a:ext>
            </a:extLst>
          </p:cNvPr>
          <p:cNvSpPr>
            <a:spLocks noGrp="1"/>
          </p:cNvSpPr>
          <p:nvPr>
            <p:ph type="dt" sz="half" idx="2"/>
          </p:nvPr>
        </p:nvSpPr>
        <p:spPr/>
        <p:txBody>
          <a:bodyPr/>
          <a:lstStyle/>
          <a:p>
            <a:pPr defTabSz="914400">
              <a:defRPr/>
            </a:pPr>
            <a:r>
              <a:rPr lang="en-GB" sz="1000" b="1" noProof="1">
                <a:solidFill>
                  <a:srgbClr val="595959"/>
                </a:solidFill>
                <a:latin typeface="Futura Medium"/>
              </a:rPr>
              <a:t>January 2024</a:t>
            </a:r>
          </a:p>
        </p:txBody>
      </p:sp>
      <p:sp>
        <p:nvSpPr>
          <p:cNvPr id="6" name="Slide Number Placeholder 5">
            <a:extLst>
              <a:ext uri="{FF2B5EF4-FFF2-40B4-BE49-F238E27FC236}">
                <a16:creationId xmlns:a16="http://schemas.microsoft.com/office/drawing/2014/main" id="{94E05545-6AEF-4BA0-A49C-90760C762B0A}"/>
              </a:ext>
            </a:extLst>
          </p:cNvPr>
          <p:cNvSpPr>
            <a:spLocks noGrp="1"/>
          </p:cNvSpPr>
          <p:nvPr>
            <p:ph type="sldNum" sz="quarter" idx="4"/>
          </p:nvPr>
        </p:nvSpPr>
        <p:spPr/>
        <p:txBody>
          <a:bodyPr/>
          <a:lstStyle/>
          <a:p>
            <a:pPr defTabSz="914400"/>
            <a:fld id="{D32BAE6A-B452-4007-8177-56DD051636F9}" type="slidenum">
              <a:rPr lang="en-GB" noProof="1">
                <a:solidFill>
                  <a:srgbClr val="595959"/>
                </a:solidFill>
                <a:latin typeface="Futura Medium"/>
              </a:rPr>
              <a:pPr defTabSz="914400"/>
              <a:t>8</a:t>
            </a:fld>
            <a:endParaRPr lang="en-GB" noProof="1">
              <a:solidFill>
                <a:srgbClr val="595959"/>
              </a:solidFill>
              <a:latin typeface="Futura Medium"/>
            </a:endParaRPr>
          </a:p>
        </p:txBody>
      </p:sp>
      <p:sp>
        <p:nvSpPr>
          <p:cNvPr id="7" name="Footer Placeholder 6">
            <a:extLst>
              <a:ext uri="{FF2B5EF4-FFF2-40B4-BE49-F238E27FC236}">
                <a16:creationId xmlns:a16="http://schemas.microsoft.com/office/drawing/2014/main" id="{47BBA051-4F84-4242-90EB-B79CBC0963AA}"/>
              </a:ext>
            </a:extLst>
          </p:cNvPr>
          <p:cNvSpPr>
            <a:spLocks noGrp="1"/>
          </p:cNvSpPr>
          <p:nvPr>
            <p:ph type="ftr" sz="quarter" idx="3"/>
          </p:nvPr>
        </p:nvSpPr>
        <p:spPr/>
        <p:txBody>
          <a:bodyPr/>
          <a:lstStyle/>
          <a:p>
            <a:pPr defTabSz="914400">
              <a:defRPr/>
            </a:pPr>
            <a:r>
              <a:rPr lang="en-GB" noProof="1">
                <a:solidFill>
                  <a:srgbClr val="595959"/>
                </a:solidFill>
                <a:latin typeface="Futura Medium"/>
              </a:rPr>
              <a:t> </a:t>
            </a:r>
          </a:p>
        </p:txBody>
      </p:sp>
    </p:spTree>
    <p:extLst>
      <p:ext uri="{BB962C8B-B14F-4D97-AF65-F5344CB8AC3E}">
        <p14:creationId xmlns:p14="http://schemas.microsoft.com/office/powerpoint/2010/main" val="217111181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1996263" y="662104"/>
            <a:ext cx="8111630" cy="859845"/>
          </a:xfrm>
        </p:spPr>
        <p:txBody>
          <a:bodyPr/>
          <a:lstStyle/>
          <a:p>
            <a:r>
              <a:rPr lang="en-GB" sz="2200" dirty="0"/>
              <a:t>DEMURRAGE OVERVIEW: JANUARY – DECEMBER 2023</a:t>
            </a:r>
          </a:p>
        </p:txBody>
      </p:sp>
      <p:sp>
        <p:nvSpPr>
          <p:cNvPr id="7" name="Slide Number Placeholder 6"/>
          <p:cNvSpPr>
            <a:spLocks noGrp="1"/>
          </p:cNvSpPr>
          <p:nvPr>
            <p:ph type="sldNum" sz="quarter" idx="4"/>
          </p:nvPr>
        </p:nvSpPr>
        <p:spPr/>
        <p:txBody>
          <a:bodyPr/>
          <a:lstStyle/>
          <a:p>
            <a:pPr defTabSz="914400"/>
            <a:fld id="{D32BAE6A-B452-4007-8177-56DD051636F9}" type="slidenum">
              <a:rPr lang="en-GB">
                <a:solidFill>
                  <a:srgbClr val="595959"/>
                </a:solidFill>
                <a:latin typeface="Futura Medium"/>
              </a:rPr>
              <a:pPr defTabSz="914400"/>
              <a:t>9</a:t>
            </a:fld>
            <a:endParaRPr lang="en-GB" dirty="0">
              <a:solidFill>
                <a:srgbClr val="595959"/>
              </a:solidFill>
              <a:latin typeface="Futura Medium"/>
            </a:endParaRPr>
          </a:p>
        </p:txBody>
      </p:sp>
      <p:sp>
        <p:nvSpPr>
          <p:cNvPr id="5" name="Date Placeholder 4"/>
          <p:cNvSpPr>
            <a:spLocks noGrp="1"/>
          </p:cNvSpPr>
          <p:nvPr>
            <p:ph type="dt" sz="half" idx="2"/>
          </p:nvPr>
        </p:nvSpPr>
        <p:spPr/>
        <p:txBody>
          <a:bodyPr/>
          <a:lstStyle/>
          <a:p>
            <a:pPr defTabSz="914400"/>
            <a:r>
              <a:rPr lang="en-US" sz="1000" b="1" dirty="0">
                <a:solidFill>
                  <a:srgbClr val="595959"/>
                </a:solidFill>
                <a:latin typeface="Futura Medium"/>
              </a:rPr>
              <a:t>JANUARY 2024</a:t>
            </a:r>
            <a:endParaRPr lang="en-GB" sz="1000" b="1" dirty="0">
              <a:solidFill>
                <a:srgbClr val="595959"/>
              </a:solidFill>
              <a:latin typeface="Futura Medium"/>
            </a:endParaRPr>
          </a:p>
        </p:txBody>
      </p:sp>
      <p:sp>
        <p:nvSpPr>
          <p:cNvPr id="2" name="Footer Placeholder 1"/>
          <p:cNvSpPr>
            <a:spLocks noGrp="1"/>
          </p:cNvSpPr>
          <p:nvPr>
            <p:ph type="ftr" sz="quarter" idx="3"/>
          </p:nvPr>
        </p:nvSpPr>
        <p:spPr/>
        <p:txBody>
          <a:bodyPr/>
          <a:lstStyle/>
          <a:p>
            <a:pPr defTabSz="914400">
              <a:defRPr/>
            </a:pPr>
            <a:r>
              <a:rPr lang="en-GB" dirty="0">
                <a:solidFill>
                  <a:srgbClr val="595959"/>
                </a:solidFill>
                <a:latin typeface="Futura Medium"/>
              </a:rPr>
              <a:t>.</a:t>
            </a:r>
          </a:p>
        </p:txBody>
      </p:sp>
      <p:pic>
        <p:nvPicPr>
          <p:cNvPr id="3" name="Picture 2">
            <a:extLst>
              <a:ext uri="{FF2B5EF4-FFF2-40B4-BE49-F238E27FC236}">
                <a16:creationId xmlns:a16="http://schemas.microsoft.com/office/drawing/2014/main" id="{38081268-D8BF-0ADC-FCFF-68D3C6F49119}"/>
              </a:ext>
            </a:extLst>
          </p:cNvPr>
          <p:cNvPicPr>
            <a:picLocks noChangeAspect="1"/>
          </p:cNvPicPr>
          <p:nvPr/>
        </p:nvPicPr>
        <p:blipFill>
          <a:blip r:embed="rId3"/>
          <a:stretch>
            <a:fillRect/>
          </a:stretch>
        </p:blipFill>
        <p:spPr>
          <a:xfrm>
            <a:off x="6039731" y="3598483"/>
            <a:ext cx="4432328" cy="2755631"/>
          </a:xfrm>
          <a:prstGeom prst="rect">
            <a:avLst/>
          </a:prstGeom>
        </p:spPr>
      </p:pic>
      <p:pic>
        <p:nvPicPr>
          <p:cNvPr id="4" name="Picture 3">
            <a:extLst>
              <a:ext uri="{FF2B5EF4-FFF2-40B4-BE49-F238E27FC236}">
                <a16:creationId xmlns:a16="http://schemas.microsoft.com/office/drawing/2014/main" id="{05B30EF9-8F9E-7329-C3A6-4FF8C3A1EB2B}"/>
              </a:ext>
            </a:extLst>
          </p:cNvPr>
          <p:cNvPicPr>
            <a:picLocks noChangeAspect="1"/>
          </p:cNvPicPr>
          <p:nvPr/>
        </p:nvPicPr>
        <p:blipFill>
          <a:blip r:embed="rId4"/>
          <a:stretch>
            <a:fillRect/>
          </a:stretch>
        </p:blipFill>
        <p:spPr>
          <a:xfrm>
            <a:off x="1884905" y="3598482"/>
            <a:ext cx="4119052" cy="2755631"/>
          </a:xfrm>
          <a:prstGeom prst="rect">
            <a:avLst/>
          </a:prstGeom>
        </p:spPr>
      </p:pic>
      <p:pic>
        <p:nvPicPr>
          <p:cNvPr id="10" name="Content Placeholder 9">
            <a:extLst>
              <a:ext uri="{FF2B5EF4-FFF2-40B4-BE49-F238E27FC236}">
                <a16:creationId xmlns:a16="http://schemas.microsoft.com/office/drawing/2014/main" id="{4CE9928F-DF26-F808-B09C-9A276939B2E7}"/>
              </a:ext>
            </a:extLst>
          </p:cNvPr>
          <p:cNvPicPr>
            <a:picLocks noGrp="1" noChangeAspect="1"/>
          </p:cNvPicPr>
          <p:nvPr>
            <p:ph sz="quarter" idx="11"/>
          </p:nvPr>
        </p:nvPicPr>
        <p:blipFill>
          <a:blip r:embed="rId5"/>
          <a:stretch>
            <a:fillRect/>
          </a:stretch>
        </p:blipFill>
        <p:spPr>
          <a:xfrm>
            <a:off x="1884905" y="1092026"/>
            <a:ext cx="4119052" cy="2483365"/>
          </a:xfrm>
          <a:prstGeom prst="rect">
            <a:avLst/>
          </a:prstGeom>
        </p:spPr>
      </p:pic>
      <p:pic>
        <p:nvPicPr>
          <p:cNvPr id="11" name="Picture 10">
            <a:extLst>
              <a:ext uri="{FF2B5EF4-FFF2-40B4-BE49-F238E27FC236}">
                <a16:creationId xmlns:a16="http://schemas.microsoft.com/office/drawing/2014/main" id="{4104EDC6-0C54-E6E2-7CAD-A4EB9E961B17}"/>
              </a:ext>
            </a:extLst>
          </p:cNvPr>
          <p:cNvPicPr>
            <a:picLocks noChangeAspect="1"/>
          </p:cNvPicPr>
          <p:nvPr/>
        </p:nvPicPr>
        <p:blipFill>
          <a:blip r:embed="rId6"/>
          <a:stretch>
            <a:fillRect/>
          </a:stretch>
        </p:blipFill>
        <p:spPr>
          <a:xfrm>
            <a:off x="6052104" y="1092026"/>
            <a:ext cx="4419956" cy="2483365"/>
          </a:xfrm>
          <a:prstGeom prst="rect">
            <a:avLst/>
          </a:prstGeom>
        </p:spPr>
      </p:pic>
    </p:spTree>
    <p:extLst>
      <p:ext uri="{BB962C8B-B14F-4D97-AF65-F5344CB8AC3E}">
        <p14:creationId xmlns:p14="http://schemas.microsoft.com/office/powerpoint/2010/main" val="378121417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layouts with footer">
  <a:themeElements>
    <a:clrScheme name="Shell Colour Palette 2023">
      <a:dk1>
        <a:srgbClr val="4A4A4A"/>
      </a:dk1>
      <a:lt1>
        <a:srgbClr val="FFFFFF"/>
      </a:lt1>
      <a:dk2>
        <a:srgbClr val="919191"/>
      </a:dk2>
      <a:lt2>
        <a:srgbClr val="E0E0E0"/>
      </a:lt2>
      <a:accent1>
        <a:srgbClr val="FFC600"/>
      </a:accent1>
      <a:accent2>
        <a:srgbClr val="DD1D21"/>
      </a:accent2>
      <a:accent3>
        <a:srgbClr val="336094"/>
      </a:accent3>
      <a:accent4>
        <a:srgbClr val="86207C"/>
      </a:accent4>
      <a:accent5>
        <a:srgbClr val="617E31"/>
      </a:accent5>
      <a:accent6>
        <a:srgbClr val="ED8A00"/>
      </a:accent6>
      <a:hlink>
        <a:srgbClr val="336094"/>
      </a:hlink>
      <a:folHlink>
        <a:srgbClr val="336094"/>
      </a:folHlink>
    </a:clrScheme>
    <a:fontScheme name="Shell Font Theme">
      <a:majorFont>
        <a:latin typeface="ShellHeavy"/>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30400" indent="-230400" defTabSz="357708">
          <a:lnSpc>
            <a:spcPct val="140000"/>
          </a:lnSpc>
          <a:buClr>
            <a:schemeClr val="accent2"/>
          </a:buClr>
          <a:buSzPct val="75000"/>
          <a:buFont typeface="Wingdings" panose="05000000000000000000" pitchFamily="2" charset="2"/>
          <a:buChar char=""/>
          <a:defRPr sz="1800" dirty="0" err="1"/>
        </a:defPPr>
      </a:lstStyle>
    </a:txDef>
  </a:objectDefaults>
  <a:extraClrSchemeLst/>
  <a:custClrLst>
    <a:custClr name="Main Yellow 200">
      <a:srgbClr val="FFC600"/>
    </a:custClr>
    <a:custClr name="Main Shell Red">
      <a:srgbClr val="DD1D21"/>
    </a:custClr>
    <a:custClr name="Main Shell Grey 700">
      <a:srgbClr val="4A4A4A"/>
    </a:custClr>
    <a:custClr name="Main Night 600">
      <a:srgbClr val="336094"/>
    </a:custClr>
    <a:custClr name="Main Ocean 400">
      <a:srgbClr val="0097A9"/>
    </a:custClr>
    <a:custClr name="Main Sky 400">
      <a:srgbClr val="0097BB"/>
    </a:custClr>
    <a:custClr name="Main Violet 500">
      <a:srgbClr val="9A60A4"/>
    </a:custClr>
    <a:custClr name="Main Sunset 500">
      <a:srgbClr val="D54410"/>
    </a:custClr>
    <a:custClr name="Main Sand 100">
      <a:srgbClr val="E1DDA9"/>
    </a:custClr>
    <a:custClr name="Main Earth 700">
      <a:srgbClr val="743A1E"/>
    </a:custClr>
    <a:custClr name="Shell Yellow 50">
      <a:srgbClr val="FFF7B4"/>
    </a:custClr>
    <a:custClr name="Shell Red 300">
      <a:srgbClr val="FF887B"/>
    </a:custClr>
    <a:custClr name="Shell Grey 900">
      <a:srgbClr val="292929"/>
    </a:custClr>
    <a:custClr name="Night 400">
      <a:srgbClr val="6E94C0"/>
    </a:custClr>
    <a:custClr name="Ocean 600">
      <a:srgbClr val="006B7B"/>
    </a:custClr>
    <a:custClr name="Sky 200">
      <a:srgbClr val="95C9DC"/>
    </a:custClr>
    <a:custClr name="Violet 300">
      <a:srgbClr val="C39EC9"/>
    </a:custClr>
    <a:custClr name="Sunset 300">
      <a:srgbClr val="FF8966"/>
    </a:custClr>
    <a:custClr name="Sand 400">
      <a:srgbClr val="979361"/>
    </a:custClr>
    <a:custClr name="Earth 500">
      <a:srgbClr val="9E684F"/>
    </a:custClr>
    <a:custClr name="White">
      <a:srgbClr val="FFFFFF"/>
    </a:custClr>
    <a:custClr name="Shell Red 100">
      <a:srgbClr val="FFD6D0"/>
    </a:custClr>
    <a:custClr name="Shell Grey 400">
      <a:srgbClr val="919191"/>
    </a:custClr>
    <a:custClr name="Night 200">
      <a:srgbClr val="ACC3DE"/>
    </a:custClr>
    <a:custClr name="Ocean 200">
      <a:srgbClr val="81CCD9"/>
    </a:custClr>
    <a:custClr name="Main Forrest 500">
      <a:srgbClr val="008557"/>
    </a:custClr>
    <a:custClr name="Violet 100">
      <a:srgbClr val="E9DBEB"/>
    </a:custClr>
    <a:custClr name="Sunset 100">
      <a:srgbClr val="FFD7C8"/>
    </a:custClr>
    <a:custClr name="Main Stone 300">
      <a:srgbClr val="B6B099"/>
    </a:custClr>
    <a:custClr name="Earth 300&#10;">
      <a:srgbClr val="C3A494"/>
    </a:custClr>
    <a:custClr name="White">
      <a:srgbClr val="FFFFFF"/>
    </a:custClr>
    <a:custClr name="White">
      <a:srgbClr val="FFFFFF"/>
    </a:custClr>
    <a:custClr name="Grey 100">
      <a:srgbClr val="E0E0E0"/>
    </a:custClr>
    <a:custClr name="Main Grass 200">
      <a:srgbClr val="A0C963"/>
    </a:custClr>
    <a:custClr name="Main Seaweed 300">
      <a:srgbClr val="A8B11A"/>
    </a:custClr>
    <a:custClr name="Forrest 300">
      <a:srgbClr val="6FB993"/>
    </a:custClr>
    <a:custClr name="Main Berry 700">
      <a:srgbClr val="86207C"/>
    </a:custClr>
    <a:custClr name="Main Sunrise 300">
      <a:srgbClr val="ED8A00"/>
    </a:custClr>
    <a:custClr name="Stone 100">
      <a:srgbClr val="E4DFCF"/>
    </a:custClr>
    <a:custClr name="White">
      <a:srgbClr val="FFFFFF"/>
    </a:custClr>
    <a:custClr name="White">
      <a:srgbClr val="FFFFFF"/>
    </a:custClr>
    <a:custClr name="White">
      <a:srgbClr val="FFFFFF"/>
    </a:custClr>
    <a:custClr name="White">
      <a:srgbClr val="FFFFFF"/>
    </a:custClr>
    <a:custClr name="White">
      <a:srgbClr val="FFFFFF"/>
    </a:custClr>
    <a:custClr name="Seaweed 100">
      <a:srgbClr val="DDE599"/>
    </a:custClr>
    <a:custClr name="Forrest 100">
      <a:srgbClr val="CBE6D7"/>
    </a:custClr>
    <a:custClr name="Berry 500">
      <a:srgbClr val="A65A9B"/>
    </a:custClr>
    <a:custClr name="Sunrise 100">
      <a:srgbClr val="FFDAAE"/>
    </a:custClr>
    <a:custClr name="White">
      <a:srgbClr val="FFFFFF"/>
    </a:custClr>
    <a:custClr name="White">
      <a:srgbClr val="FFFFFF"/>
    </a:custClr>
  </a:custClrLst>
  <a:extLst>
    <a:ext uri="{05A4C25C-085E-4340-85A3-A5531E510DB2}">
      <thm15:themeFamily xmlns:thm15="http://schemas.microsoft.com/office/thememl/2012/main" name="Onscreen;2057;Pos1;Date1;Widescreen Shell template - 16x9 V1-111c.potx" id="{CF35A8A4-904C-4D86-9EEF-4E0EABB90A7A}" vid="{4AAD0A67-B38A-4AB7-AB13-06BA318B0DC1}"/>
    </a:ext>
  </a:extLst>
</a:theme>
</file>

<file path=ppt/theme/theme2.xml><?xml version="1.0" encoding="utf-8"?>
<a:theme xmlns:a="http://schemas.openxmlformats.org/drawingml/2006/main" name="2016 Standard templat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77800" indent="-177800">
          <a:lnSpc>
            <a:spcPct val="113000"/>
          </a:lnSpc>
          <a:spcAft>
            <a:spcPts val="60"/>
          </a:spcAft>
          <a:buFont typeface="Wingdings"/>
          <a:buChar char="n"/>
          <a:defRPr sz="1600" dirty="0" smtClean="0"/>
        </a:defPPr>
      </a:lstStyle>
    </a:txDef>
  </a:objectDefaults>
  <a:extraClrSchemeLst/>
  <a:extLst>
    <a:ext uri="{05A4C25C-085E-4340-85A3-A5531E510DB2}">
      <thm15:themeFamily xmlns:thm15="http://schemas.microsoft.com/office/thememl/2012/main" name="Shell Template - Presentation Mode New v14.potx" id="{6866CFAD-083A-4319-941B-C5C53D83E3CE}" vid="{22E1D647-2C7A-4302-A7A8-C281F9C253E9}"/>
    </a:ext>
  </a:extLst>
</a:theme>
</file>

<file path=ppt/theme/theme3.xml><?xml version="1.0" encoding="utf-8"?>
<a:theme xmlns:a="http://schemas.openxmlformats.org/drawingml/2006/main" name="Office Theme">
  <a:themeElements>
    <a:clrScheme name="Shell Colour Palette 2023">
      <a:dk1>
        <a:srgbClr val="4A4A4A"/>
      </a:dk1>
      <a:lt1>
        <a:srgbClr val="FFFFFF"/>
      </a:lt1>
      <a:dk2>
        <a:srgbClr val="919191"/>
      </a:dk2>
      <a:lt2>
        <a:srgbClr val="E0E0E0"/>
      </a:lt2>
      <a:accent1>
        <a:srgbClr val="FFC600"/>
      </a:accent1>
      <a:accent2>
        <a:srgbClr val="DD1D21"/>
      </a:accent2>
      <a:accent3>
        <a:srgbClr val="336094"/>
      </a:accent3>
      <a:accent4>
        <a:srgbClr val="86207C"/>
      </a:accent4>
      <a:accent5>
        <a:srgbClr val="617E31"/>
      </a:accent5>
      <a:accent6>
        <a:srgbClr val="ED8A00"/>
      </a:accent6>
      <a:hlink>
        <a:srgbClr val="336094"/>
      </a:hlink>
      <a:folHlink>
        <a:srgbClr val="336094"/>
      </a:folHlink>
    </a:clrScheme>
    <a:fontScheme name="Office">
      <a:majorFont>
        <a:latin typeface="ShellMedium"/>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ShellMedium"/>
        <a:ea typeface=""/>
        <a:cs typeface=""/>
        <a:font script="Jpan" typeface="ＭＳ Ｐゴシック"/>
        <a:font script="Hang" typeface="맑은 고딕"/>
        <a:font script="Hans" typeface="宋体"/>
        <a:font script="Hant" typeface="新細明體"/>
        <a:font script="Arab" typeface="ShellMedium"/>
        <a:font script="Hebr" typeface="ShellMedium"/>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ShellMedium"/>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hell Colour Palette 2023">
      <a:dk1>
        <a:srgbClr val="4A4A4A"/>
      </a:dk1>
      <a:lt1>
        <a:srgbClr val="FFFFFF"/>
      </a:lt1>
      <a:dk2>
        <a:srgbClr val="919191"/>
      </a:dk2>
      <a:lt2>
        <a:srgbClr val="E0E0E0"/>
      </a:lt2>
      <a:accent1>
        <a:srgbClr val="FFC600"/>
      </a:accent1>
      <a:accent2>
        <a:srgbClr val="DD1D21"/>
      </a:accent2>
      <a:accent3>
        <a:srgbClr val="336094"/>
      </a:accent3>
      <a:accent4>
        <a:srgbClr val="86207C"/>
      </a:accent4>
      <a:accent5>
        <a:srgbClr val="617E31"/>
      </a:accent5>
      <a:accent6>
        <a:srgbClr val="ED8A00"/>
      </a:accent6>
      <a:hlink>
        <a:srgbClr val="336094"/>
      </a:hlink>
      <a:folHlink>
        <a:srgbClr val="336094"/>
      </a:folHlink>
    </a:clrScheme>
    <a:fontScheme name="Office">
      <a:majorFont>
        <a:latin typeface="ShellMedium"/>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ShellMedium"/>
        <a:ea typeface=""/>
        <a:cs typeface=""/>
        <a:font script="Jpan" typeface="ＭＳ Ｐゴシック"/>
        <a:font script="Hang" typeface="맑은 고딕"/>
        <a:font script="Hans" typeface="宋体"/>
        <a:font script="Hant" typeface="新細明體"/>
        <a:font script="Arab" typeface="ShellMedium"/>
        <a:font script="Hebr" typeface="ShellMedium"/>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ShellMedium"/>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Onscreen;2057;Pos1;Date1;Widescreen Shell template - 16x9 V1-112</Template>
  <TotalTime>759</TotalTime>
  <Words>1036</Words>
  <Application>Microsoft Office PowerPoint</Application>
  <PresentationFormat>Widescreen</PresentationFormat>
  <Paragraphs>207</Paragraphs>
  <Slides>19</Slides>
  <Notes>1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0" baseType="lpstr">
      <vt:lpstr>ShellMedium</vt:lpstr>
      <vt:lpstr>ShellHeavy</vt:lpstr>
      <vt:lpstr>Futura Bold</vt:lpstr>
      <vt:lpstr>ShellLight</vt:lpstr>
      <vt:lpstr>Wingdings</vt:lpstr>
      <vt:lpstr>Futura Medium</vt:lpstr>
      <vt:lpstr>Futura Light</vt:lpstr>
      <vt:lpstr>Arial</vt:lpstr>
      <vt:lpstr>Shell layouts with footer</vt:lpstr>
      <vt:lpstr>2016 Standard template</vt:lpstr>
      <vt:lpstr>think-cell Slide</vt:lpstr>
      <vt:lpstr>SPDC OPEX Cost Improvement</vt:lpstr>
      <vt:lpstr>Agenda</vt:lpstr>
      <vt:lpstr>Let’s talk demurrage</vt:lpstr>
      <vt:lpstr>CLAIMS AWARENESS SESSION </vt:lpstr>
      <vt:lpstr>1.0</vt:lpstr>
      <vt:lpstr>What is Demurrage </vt:lpstr>
      <vt:lpstr> OIL LOSES</vt:lpstr>
      <vt:lpstr>POST DEAL CLAIMS</vt:lpstr>
      <vt:lpstr>DEMURRAGE OVERVIEW: JANUARY – DECEMBER 2023</vt:lpstr>
      <vt:lpstr>DEMURRAGE OVERVIEW - BONGA</vt:lpstr>
      <vt:lpstr>DEMURRAGE OVERVIEW - BONNY</vt:lpstr>
      <vt:lpstr>DEMURRAGE OVERVIEW - FORCADOS</vt:lpstr>
      <vt:lpstr>DEMURRAGE OVERVIEW – SEA EAGLE</vt:lpstr>
      <vt:lpstr>2.0 </vt:lpstr>
      <vt:lpstr>OVERVIEW OF OPEN OIL LOSS CLAIM</vt:lpstr>
      <vt:lpstr>Export claims 2022 and 2023</vt:lpstr>
      <vt:lpstr>Initiative Title: Eliminating Demurrage in SPDC Terminals</vt:lpstr>
      <vt:lpstr>Initiative Tea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iminating Demurrage</dc:title>
  <dc:creator>Garus-Kogi, Oghenedoro F SPDC-IUC/G/T</dc:creator>
  <cp:lastModifiedBy>Garus-Kogi, Oghenedoro F SPDC-IUC/G/T</cp:lastModifiedBy>
  <cp:revision>1</cp:revision>
  <dcterms:created xsi:type="dcterms:W3CDTF">2024-01-30T17:23:41Z</dcterms:created>
  <dcterms:modified xsi:type="dcterms:W3CDTF">2024-02-12T09:49:19Z</dcterms:modified>
  <cp:category>Shell_IC: INTERN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6</vt:i4>
  </property>
</Properties>
</file>